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8.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0.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1.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2.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939" r:id="rId13"/>
    <p:sldMasterId id="2147483957" r:id="rId14"/>
    <p:sldMasterId id="2147483964" r:id="rId15"/>
    <p:sldMasterId id="2147483982" r:id="rId16"/>
    <p:sldMasterId id="2147484009" r:id="rId17"/>
  </p:sldMasterIdLst>
  <p:notesMasterIdLst>
    <p:notesMasterId r:id="rId76"/>
  </p:notesMasterIdLst>
  <p:sldIdLst>
    <p:sldId id="295" r:id="rId18"/>
    <p:sldId id="1077" r:id="rId19"/>
    <p:sldId id="1722" r:id="rId20"/>
    <p:sldId id="1723" r:id="rId21"/>
    <p:sldId id="1714" r:id="rId22"/>
    <p:sldId id="1717" r:id="rId23"/>
    <p:sldId id="1729" r:id="rId24"/>
    <p:sldId id="1730" r:id="rId25"/>
    <p:sldId id="1731" r:id="rId26"/>
    <p:sldId id="1732" r:id="rId27"/>
    <p:sldId id="1721" r:id="rId28"/>
    <p:sldId id="1733" r:id="rId29"/>
    <p:sldId id="1735" r:id="rId30"/>
    <p:sldId id="1736" r:id="rId31"/>
    <p:sldId id="1737" r:id="rId32"/>
    <p:sldId id="1738" r:id="rId33"/>
    <p:sldId id="1078" r:id="rId34"/>
    <p:sldId id="1713" r:id="rId35"/>
    <p:sldId id="1089" r:id="rId36"/>
    <p:sldId id="1739" r:id="rId37"/>
    <p:sldId id="1750" r:id="rId38"/>
    <p:sldId id="1747" r:id="rId39"/>
    <p:sldId id="1758" r:id="rId40"/>
    <p:sldId id="1759" r:id="rId41"/>
    <p:sldId id="1748" r:id="rId42"/>
    <p:sldId id="3352" r:id="rId43"/>
    <p:sldId id="1749" r:id="rId44"/>
    <p:sldId id="1885" r:id="rId45"/>
    <p:sldId id="1889" r:id="rId46"/>
    <p:sldId id="1752" r:id="rId47"/>
    <p:sldId id="1886" r:id="rId48"/>
    <p:sldId id="1887" r:id="rId49"/>
    <p:sldId id="1893" r:id="rId50"/>
    <p:sldId id="3351" r:id="rId51"/>
    <p:sldId id="1892" r:id="rId52"/>
    <p:sldId id="1765" r:id="rId53"/>
    <p:sldId id="1766" r:id="rId54"/>
    <p:sldId id="1755" r:id="rId55"/>
    <p:sldId id="1888" r:id="rId56"/>
    <p:sldId id="1756" r:id="rId57"/>
    <p:sldId id="1742" r:id="rId58"/>
    <p:sldId id="1751" r:id="rId59"/>
    <p:sldId id="1746" r:id="rId60"/>
    <p:sldId id="1753" r:id="rId61"/>
    <p:sldId id="1761" r:id="rId62"/>
    <p:sldId id="257" r:id="rId63"/>
    <p:sldId id="1764" r:id="rId64"/>
    <p:sldId id="1745" r:id="rId65"/>
    <p:sldId id="1760" r:id="rId66"/>
    <p:sldId id="1763" r:id="rId67"/>
    <p:sldId id="1741" r:id="rId68"/>
    <p:sldId id="1894" r:id="rId69"/>
    <p:sldId id="294" r:id="rId70"/>
    <p:sldId id="293" r:id="rId71"/>
    <p:sldId id="1724" r:id="rId72"/>
    <p:sldId id="1725" r:id="rId73"/>
    <p:sldId id="1726" r:id="rId74"/>
    <p:sldId id="1727"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73"/>
    <a:srgbClr val="0078D7"/>
    <a:srgbClr val="469946"/>
    <a:srgbClr val="D83B01"/>
    <a:srgbClr val="107C10"/>
    <a:srgbClr val="E6E6E6"/>
    <a:srgbClr val="FFF100"/>
    <a:srgbClr val="CBCCD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9" autoAdjust="0"/>
    <p:restoredTop sz="89524" autoAdjust="0"/>
  </p:normalViewPr>
  <p:slideViewPr>
    <p:cSldViewPr snapToGrid="0">
      <p:cViewPr varScale="1">
        <p:scale>
          <a:sx n="114" d="100"/>
          <a:sy n="114" d="100"/>
        </p:scale>
        <p:origin x="1016"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16" Type="http://schemas.openxmlformats.org/officeDocument/2006/relationships/slideMaster" Target="slideMasters/slideMaster12.xml"/><Relationship Id="rId11" Type="http://schemas.openxmlformats.org/officeDocument/2006/relationships/slideMaster" Target="slideMasters/slideMaster7.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theme" Target="theme/theme1.xml"/><Relationship Id="rId5" Type="http://schemas.openxmlformats.org/officeDocument/2006/relationships/slideMaster" Target="slideMasters/slideMaster1.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notesMaster" Target="notesMasters/notesMaster1.xml"/><Relationship Id="rId7" Type="http://schemas.openxmlformats.org/officeDocument/2006/relationships/slideMaster" Target="slideMasters/slideMaster3.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tharth Gupta" userId="e2847f67e220f1e6" providerId="LiveId" clId="{BB268C3E-853A-40E1-8C73-E97A67D91A6E}"/>
    <pc:docChg chg="undo custSel addSld delSld modSld">
      <pc:chgData name="Yatharth Gupta" userId="e2847f67e220f1e6" providerId="LiveId" clId="{BB268C3E-853A-40E1-8C73-E97A67D91A6E}" dt="2018-06-27T17:13:07.141" v="548" actId="2696"/>
      <pc:docMkLst>
        <pc:docMk/>
      </pc:docMkLst>
      <pc:sldChg chg="modSp modTransition">
        <pc:chgData name="Yatharth Gupta" userId="e2847f67e220f1e6" providerId="LiveId" clId="{BB268C3E-853A-40E1-8C73-E97A67D91A6E}" dt="2018-06-27T16:30:30.957" v="204" actId="208"/>
        <pc:sldMkLst>
          <pc:docMk/>
          <pc:sldMk cId="1214186423" sldId="263"/>
        </pc:sldMkLst>
        <pc:spChg chg="mod">
          <ac:chgData name="Yatharth Gupta" userId="e2847f67e220f1e6" providerId="LiveId" clId="{BB268C3E-853A-40E1-8C73-E97A67D91A6E}" dt="2018-06-27T16:30:28.154" v="203" actId="208"/>
          <ac:spMkLst>
            <pc:docMk/>
            <pc:sldMk cId="1214186423" sldId="263"/>
            <ac:spMk id="816" creationId="{00000000-0000-0000-0000-000000000000}"/>
          </ac:spMkLst>
        </pc:spChg>
        <pc:spChg chg="mod">
          <ac:chgData name="Yatharth Gupta" userId="e2847f67e220f1e6" providerId="LiveId" clId="{BB268C3E-853A-40E1-8C73-E97A67D91A6E}" dt="2018-06-27T16:30:06.987" v="200" actId="207"/>
          <ac:spMkLst>
            <pc:docMk/>
            <pc:sldMk cId="1214186423" sldId="263"/>
            <ac:spMk id="817" creationId="{00000000-0000-0000-0000-000000000000}"/>
          </ac:spMkLst>
        </pc:spChg>
        <pc:spChg chg="mod">
          <ac:chgData name="Yatharth Gupta" userId="e2847f67e220f1e6" providerId="LiveId" clId="{BB268C3E-853A-40E1-8C73-E97A67D91A6E}" dt="2018-06-27T16:20:00.225" v="195" actId="207"/>
          <ac:spMkLst>
            <pc:docMk/>
            <pc:sldMk cId="1214186423" sldId="263"/>
            <ac:spMk id="818" creationId="{00000000-0000-0000-0000-000000000000}"/>
          </ac:spMkLst>
        </pc:spChg>
        <pc:spChg chg="mod">
          <ac:chgData name="Yatharth Gupta" userId="e2847f67e220f1e6" providerId="LiveId" clId="{BB268C3E-853A-40E1-8C73-E97A67D91A6E}" dt="2018-06-27T16:30:30.957" v="204" actId="208"/>
          <ac:spMkLst>
            <pc:docMk/>
            <pc:sldMk cId="1214186423" sldId="263"/>
            <ac:spMk id="820" creationId="{00000000-0000-0000-0000-000000000000}"/>
          </ac:spMkLst>
        </pc:spChg>
        <pc:cxnChg chg="mod">
          <ac:chgData name="Yatharth Gupta" userId="e2847f67e220f1e6" providerId="LiveId" clId="{BB268C3E-853A-40E1-8C73-E97A67D91A6E}" dt="2018-06-27T16:20:06.956" v="196" actId="13822"/>
          <ac:cxnSpMkLst>
            <pc:docMk/>
            <pc:sldMk cId="1214186423" sldId="263"/>
            <ac:cxnSpMk id="819" creationId="{00000000-0000-0000-0000-000000000000}"/>
          </ac:cxnSpMkLst>
        </pc:cxnChg>
        <pc:cxnChg chg="mod">
          <ac:chgData name="Yatharth Gupta" userId="e2847f67e220f1e6" providerId="LiveId" clId="{BB268C3E-853A-40E1-8C73-E97A67D91A6E}" dt="2018-06-27T16:20:09.487" v="197" actId="13822"/>
          <ac:cxnSpMkLst>
            <pc:docMk/>
            <pc:sldMk cId="1214186423" sldId="263"/>
            <ac:cxnSpMk id="821" creationId="{00000000-0000-0000-0000-000000000000}"/>
          </ac:cxnSpMkLst>
        </pc:cxnChg>
      </pc:sldChg>
      <pc:sldChg chg="addSp delSp modSp modTransition">
        <pc:chgData name="Yatharth Gupta" userId="e2847f67e220f1e6" providerId="LiveId" clId="{BB268C3E-853A-40E1-8C73-E97A67D91A6E}" dt="2018-06-27T16:38:18.955" v="264" actId="207"/>
        <pc:sldMkLst>
          <pc:docMk/>
          <pc:sldMk cId="3142505878" sldId="264"/>
        </pc:sldMkLst>
        <pc:spChg chg="add del mod">
          <ac:chgData name="Yatharth Gupta" userId="e2847f67e220f1e6" providerId="LiveId" clId="{BB268C3E-853A-40E1-8C73-E97A67D91A6E}" dt="2018-06-27T16:30:48.878" v="206"/>
          <ac:spMkLst>
            <pc:docMk/>
            <pc:sldMk cId="3142505878" sldId="264"/>
            <ac:spMk id="2" creationId="{AF07CFDF-46B6-4F20-8136-E5B5AA7D4545}"/>
          </ac:spMkLst>
        </pc:spChg>
        <pc:spChg chg="mod">
          <ac:chgData name="Yatharth Gupta" userId="e2847f67e220f1e6" providerId="LiveId" clId="{BB268C3E-853A-40E1-8C73-E97A67D91A6E}" dt="2018-06-27T16:31:51.254" v="213" actId="207"/>
          <ac:spMkLst>
            <pc:docMk/>
            <pc:sldMk cId="3142505878" sldId="264"/>
            <ac:spMk id="826" creationId="{00000000-0000-0000-0000-000000000000}"/>
          </ac:spMkLst>
        </pc:spChg>
        <pc:spChg chg="mod">
          <ac:chgData name="Yatharth Gupta" userId="e2847f67e220f1e6" providerId="LiveId" clId="{BB268C3E-853A-40E1-8C73-E97A67D91A6E}" dt="2018-06-27T16:38:12.862" v="262" actId="207"/>
          <ac:spMkLst>
            <pc:docMk/>
            <pc:sldMk cId="3142505878" sldId="264"/>
            <ac:spMk id="827" creationId="{00000000-0000-0000-0000-000000000000}"/>
          </ac:spMkLst>
        </pc:spChg>
        <pc:spChg chg="mod">
          <ac:chgData name="Yatharth Gupta" userId="e2847f67e220f1e6" providerId="LiveId" clId="{BB268C3E-853A-40E1-8C73-E97A67D91A6E}" dt="2018-06-27T16:33:17.938" v="225" actId="208"/>
          <ac:spMkLst>
            <pc:docMk/>
            <pc:sldMk cId="3142505878" sldId="264"/>
            <ac:spMk id="828" creationId="{00000000-0000-0000-0000-000000000000}"/>
          </ac:spMkLst>
        </pc:spChg>
        <pc:spChg chg="mod">
          <ac:chgData name="Yatharth Gupta" userId="e2847f67e220f1e6" providerId="LiveId" clId="{BB268C3E-853A-40E1-8C73-E97A67D91A6E}" dt="2018-06-27T16:32:35.457" v="220" actId="207"/>
          <ac:spMkLst>
            <pc:docMk/>
            <pc:sldMk cId="3142505878" sldId="264"/>
            <ac:spMk id="829" creationId="{00000000-0000-0000-0000-000000000000}"/>
          </ac:spMkLst>
        </pc:spChg>
        <pc:spChg chg="mod">
          <ac:chgData name="Yatharth Gupta" userId="e2847f67e220f1e6" providerId="LiveId" clId="{BB268C3E-853A-40E1-8C73-E97A67D91A6E}" dt="2018-06-27T16:32:06.002" v="216" actId="207"/>
          <ac:spMkLst>
            <pc:docMk/>
            <pc:sldMk cId="3142505878" sldId="264"/>
            <ac:spMk id="830" creationId="{00000000-0000-0000-0000-000000000000}"/>
          </ac:spMkLst>
        </pc:spChg>
        <pc:spChg chg="mod">
          <ac:chgData name="Yatharth Gupta" userId="e2847f67e220f1e6" providerId="LiveId" clId="{BB268C3E-853A-40E1-8C73-E97A67D91A6E}" dt="2018-06-27T16:38:15.709" v="263" actId="207"/>
          <ac:spMkLst>
            <pc:docMk/>
            <pc:sldMk cId="3142505878" sldId="264"/>
            <ac:spMk id="832" creationId="{00000000-0000-0000-0000-000000000000}"/>
          </ac:spMkLst>
        </pc:spChg>
        <pc:spChg chg="mod">
          <ac:chgData name="Yatharth Gupta" userId="e2847f67e220f1e6" providerId="LiveId" clId="{BB268C3E-853A-40E1-8C73-E97A67D91A6E}" dt="2018-06-27T16:38:18.955" v="264" actId="207"/>
          <ac:spMkLst>
            <pc:docMk/>
            <pc:sldMk cId="3142505878" sldId="264"/>
            <ac:spMk id="833" creationId="{00000000-0000-0000-0000-000000000000}"/>
          </ac:spMkLst>
        </pc:spChg>
        <pc:spChg chg="mod">
          <ac:chgData name="Yatharth Gupta" userId="e2847f67e220f1e6" providerId="LiveId" clId="{BB268C3E-853A-40E1-8C73-E97A67D91A6E}" dt="2018-06-27T16:33:21.489" v="226" actId="208"/>
          <ac:spMkLst>
            <pc:docMk/>
            <pc:sldMk cId="3142505878" sldId="264"/>
            <ac:spMk id="834" creationId="{00000000-0000-0000-0000-000000000000}"/>
          </ac:spMkLst>
        </pc:spChg>
        <pc:cxnChg chg="mod">
          <ac:chgData name="Yatharth Gupta" userId="e2847f67e220f1e6" providerId="LiveId" clId="{BB268C3E-853A-40E1-8C73-E97A67D91A6E}" dt="2018-06-27T16:32:54.727" v="222" actId="208"/>
          <ac:cxnSpMkLst>
            <pc:docMk/>
            <pc:sldMk cId="3142505878" sldId="264"/>
            <ac:cxnSpMk id="831" creationId="{00000000-0000-0000-0000-000000000000}"/>
          </ac:cxnSpMkLst>
        </pc:cxnChg>
        <pc:cxnChg chg="mod">
          <ac:chgData name="Yatharth Gupta" userId="e2847f67e220f1e6" providerId="LiveId" clId="{BB268C3E-853A-40E1-8C73-E97A67D91A6E}" dt="2018-06-27T16:32:57.456" v="223" actId="208"/>
          <ac:cxnSpMkLst>
            <pc:docMk/>
            <pc:sldMk cId="3142505878" sldId="264"/>
            <ac:cxnSpMk id="835" creationId="{00000000-0000-0000-0000-000000000000}"/>
          </ac:cxnSpMkLst>
        </pc:cxnChg>
      </pc:sldChg>
      <pc:sldChg chg="modSp modTransition">
        <pc:chgData name="Yatharth Gupta" userId="e2847f67e220f1e6" providerId="LiveId" clId="{BB268C3E-853A-40E1-8C73-E97A67D91A6E}" dt="2018-06-27T16:37:07.972" v="258" actId="2711"/>
        <pc:sldMkLst>
          <pc:docMk/>
          <pc:sldMk cId="2207231052" sldId="265"/>
        </pc:sldMkLst>
        <pc:spChg chg="mod">
          <ac:chgData name="Yatharth Gupta" userId="e2847f67e220f1e6" providerId="LiveId" clId="{BB268C3E-853A-40E1-8C73-E97A67D91A6E}" dt="2018-06-27T16:34:18.191" v="228" actId="2711"/>
          <ac:spMkLst>
            <pc:docMk/>
            <pc:sldMk cId="2207231052" sldId="265"/>
            <ac:spMk id="840" creationId="{00000000-0000-0000-0000-000000000000}"/>
          </ac:spMkLst>
        </pc:spChg>
        <pc:spChg chg="mod">
          <ac:chgData name="Yatharth Gupta" userId="e2847f67e220f1e6" providerId="LiveId" clId="{BB268C3E-853A-40E1-8C73-E97A67D91A6E}" dt="2018-06-27T16:36:04.924" v="250" actId="207"/>
          <ac:spMkLst>
            <pc:docMk/>
            <pc:sldMk cId="2207231052" sldId="265"/>
            <ac:spMk id="841" creationId="{00000000-0000-0000-0000-000000000000}"/>
          </ac:spMkLst>
        </pc:spChg>
        <pc:spChg chg="mod">
          <ac:chgData name="Yatharth Gupta" userId="e2847f67e220f1e6" providerId="LiveId" clId="{BB268C3E-853A-40E1-8C73-E97A67D91A6E}" dt="2018-06-27T16:37:03.532" v="257" actId="2711"/>
          <ac:spMkLst>
            <pc:docMk/>
            <pc:sldMk cId="2207231052" sldId="265"/>
            <ac:spMk id="842" creationId="{00000000-0000-0000-0000-000000000000}"/>
          </ac:spMkLst>
        </pc:spChg>
        <pc:spChg chg="mod">
          <ac:chgData name="Yatharth Gupta" userId="e2847f67e220f1e6" providerId="LiveId" clId="{BB268C3E-853A-40E1-8C73-E97A67D91A6E}" dt="2018-06-27T16:35:53.053" v="248" actId="207"/>
          <ac:spMkLst>
            <pc:docMk/>
            <pc:sldMk cId="2207231052" sldId="265"/>
            <ac:spMk id="846" creationId="{00000000-0000-0000-0000-000000000000}"/>
          </ac:spMkLst>
        </pc:spChg>
        <pc:spChg chg="mod">
          <ac:chgData name="Yatharth Gupta" userId="e2847f67e220f1e6" providerId="LiveId" clId="{BB268C3E-853A-40E1-8C73-E97A67D91A6E}" dt="2018-06-27T16:35:53.053" v="248" actId="207"/>
          <ac:spMkLst>
            <pc:docMk/>
            <pc:sldMk cId="2207231052" sldId="265"/>
            <ac:spMk id="847" creationId="{00000000-0000-0000-0000-000000000000}"/>
          </ac:spMkLst>
        </pc:spChg>
        <pc:spChg chg="mod">
          <ac:chgData name="Yatharth Gupta" userId="e2847f67e220f1e6" providerId="LiveId" clId="{BB268C3E-853A-40E1-8C73-E97A67D91A6E}" dt="2018-06-27T16:35:53.053" v="248" actId="207"/>
          <ac:spMkLst>
            <pc:docMk/>
            <pc:sldMk cId="2207231052" sldId="265"/>
            <ac:spMk id="848" creationId="{00000000-0000-0000-0000-000000000000}"/>
          </ac:spMkLst>
        </pc:spChg>
        <pc:spChg chg="mod">
          <ac:chgData name="Yatharth Gupta" userId="e2847f67e220f1e6" providerId="LiveId" clId="{BB268C3E-853A-40E1-8C73-E97A67D91A6E}" dt="2018-06-27T16:35:53.053" v="248" actId="207"/>
          <ac:spMkLst>
            <pc:docMk/>
            <pc:sldMk cId="2207231052" sldId="265"/>
            <ac:spMk id="850" creationId="{00000000-0000-0000-0000-000000000000}"/>
          </ac:spMkLst>
        </pc:spChg>
        <pc:spChg chg="mod">
          <ac:chgData name="Yatharth Gupta" userId="e2847f67e220f1e6" providerId="LiveId" clId="{BB268C3E-853A-40E1-8C73-E97A67D91A6E}" dt="2018-06-27T16:36:00.942" v="249" actId="207"/>
          <ac:spMkLst>
            <pc:docMk/>
            <pc:sldMk cId="2207231052" sldId="265"/>
            <ac:spMk id="852" creationId="{00000000-0000-0000-0000-000000000000}"/>
          </ac:spMkLst>
        </pc:spChg>
        <pc:spChg chg="mod">
          <ac:chgData name="Yatharth Gupta" userId="e2847f67e220f1e6" providerId="LiveId" clId="{BB268C3E-853A-40E1-8C73-E97A67D91A6E}" dt="2018-06-27T16:36:23.519" v="253" actId="2711"/>
          <ac:spMkLst>
            <pc:docMk/>
            <pc:sldMk cId="2207231052" sldId="265"/>
            <ac:spMk id="853" creationId="{00000000-0000-0000-0000-000000000000}"/>
          </ac:spMkLst>
        </pc:spChg>
        <pc:spChg chg="mod">
          <ac:chgData name="Yatharth Gupta" userId="e2847f67e220f1e6" providerId="LiveId" clId="{BB268C3E-853A-40E1-8C73-E97A67D91A6E}" dt="2018-06-27T16:37:07.972" v="258" actId="2711"/>
          <ac:spMkLst>
            <pc:docMk/>
            <pc:sldMk cId="2207231052" sldId="265"/>
            <ac:spMk id="854" creationId="{00000000-0000-0000-0000-000000000000}"/>
          </ac:spMkLst>
        </pc:spChg>
        <pc:spChg chg="mod">
          <ac:chgData name="Yatharth Gupta" userId="e2847f67e220f1e6" providerId="LiveId" clId="{BB268C3E-853A-40E1-8C73-E97A67D91A6E}" dt="2018-06-27T16:35:21.457" v="244" actId="207"/>
          <ac:spMkLst>
            <pc:docMk/>
            <pc:sldMk cId="2207231052" sldId="265"/>
            <ac:spMk id="855" creationId="{00000000-0000-0000-0000-000000000000}"/>
          </ac:spMkLst>
        </pc:spChg>
        <pc:spChg chg="mod ord">
          <ac:chgData name="Yatharth Gupta" userId="e2847f67e220f1e6" providerId="LiveId" clId="{BB268C3E-853A-40E1-8C73-E97A67D91A6E}" dt="2018-06-27T16:36:48.832" v="255" actId="167"/>
          <ac:spMkLst>
            <pc:docMk/>
            <pc:sldMk cId="2207231052" sldId="265"/>
            <ac:spMk id="856" creationId="{00000000-0000-0000-0000-000000000000}"/>
          </ac:spMkLst>
        </pc:spChg>
        <pc:cxnChg chg="mod">
          <ac:chgData name="Yatharth Gupta" userId="e2847f67e220f1e6" providerId="LiveId" clId="{BB268C3E-853A-40E1-8C73-E97A67D91A6E}" dt="2018-06-27T16:34:56.176" v="238" actId="208"/>
          <ac:cxnSpMkLst>
            <pc:docMk/>
            <pc:sldMk cId="2207231052" sldId="265"/>
            <ac:cxnSpMk id="843" creationId="{00000000-0000-0000-0000-000000000000}"/>
          </ac:cxnSpMkLst>
        </pc:cxnChg>
        <pc:cxnChg chg="mod">
          <ac:chgData name="Yatharth Gupta" userId="e2847f67e220f1e6" providerId="LiveId" clId="{BB268C3E-853A-40E1-8C73-E97A67D91A6E}" dt="2018-06-27T16:35:00.456" v="240" actId="208"/>
          <ac:cxnSpMkLst>
            <pc:docMk/>
            <pc:sldMk cId="2207231052" sldId="265"/>
            <ac:cxnSpMk id="844" creationId="{00000000-0000-0000-0000-000000000000}"/>
          </ac:cxnSpMkLst>
        </pc:cxnChg>
        <pc:cxnChg chg="mod">
          <ac:chgData name="Yatharth Gupta" userId="e2847f67e220f1e6" providerId="LiveId" clId="{BB268C3E-853A-40E1-8C73-E97A67D91A6E}" dt="2018-06-27T16:35:02.957" v="241" actId="208"/>
          <ac:cxnSpMkLst>
            <pc:docMk/>
            <pc:sldMk cId="2207231052" sldId="265"/>
            <ac:cxnSpMk id="845" creationId="{00000000-0000-0000-0000-000000000000}"/>
          </ac:cxnSpMkLst>
        </pc:cxnChg>
        <pc:cxnChg chg="mod">
          <ac:chgData name="Yatharth Gupta" userId="e2847f67e220f1e6" providerId="LiveId" clId="{BB268C3E-853A-40E1-8C73-E97A67D91A6E}" dt="2018-06-27T16:34:58.238" v="239" actId="208"/>
          <ac:cxnSpMkLst>
            <pc:docMk/>
            <pc:sldMk cId="2207231052" sldId="265"/>
            <ac:cxnSpMk id="849" creationId="{00000000-0000-0000-0000-000000000000}"/>
          </ac:cxnSpMkLst>
        </pc:cxnChg>
        <pc:cxnChg chg="mod">
          <ac:chgData name="Yatharth Gupta" userId="e2847f67e220f1e6" providerId="LiveId" clId="{BB268C3E-853A-40E1-8C73-E97A67D91A6E}" dt="2018-06-27T16:36:53.646" v="256" actId="208"/>
          <ac:cxnSpMkLst>
            <pc:docMk/>
            <pc:sldMk cId="2207231052" sldId="265"/>
            <ac:cxnSpMk id="851" creationId="{00000000-0000-0000-0000-000000000000}"/>
          </ac:cxnSpMkLst>
        </pc:cxnChg>
      </pc:sldChg>
      <pc:sldChg chg="modSp modTransition">
        <pc:chgData name="Yatharth Gupta" userId="e2847f67e220f1e6" providerId="LiveId" clId="{BB268C3E-853A-40E1-8C73-E97A67D91A6E}" dt="2018-06-27T16:37:50.550" v="261"/>
        <pc:sldMkLst>
          <pc:docMk/>
          <pc:sldMk cId="334866894" sldId="266"/>
        </pc:sldMkLst>
        <pc:spChg chg="mod">
          <ac:chgData name="Yatharth Gupta" userId="e2847f67e220f1e6" providerId="LiveId" clId="{BB268C3E-853A-40E1-8C73-E97A67D91A6E}" dt="2018-06-27T16:37:43.019" v="260" actId="207"/>
          <ac:spMkLst>
            <pc:docMk/>
            <pc:sldMk cId="334866894" sldId="266"/>
            <ac:spMk id="861" creationId="{00000000-0000-0000-0000-000000000000}"/>
          </ac:spMkLst>
        </pc:spChg>
        <pc:spChg chg="mod">
          <ac:chgData name="Yatharth Gupta" userId="e2847f67e220f1e6" providerId="LiveId" clId="{BB268C3E-853A-40E1-8C73-E97A67D91A6E}" dt="2018-06-27T16:37:43.019" v="260" actId="207"/>
          <ac:spMkLst>
            <pc:docMk/>
            <pc:sldMk cId="334866894" sldId="266"/>
            <ac:spMk id="862" creationId="{00000000-0000-0000-0000-000000000000}"/>
          </ac:spMkLst>
        </pc:spChg>
        <pc:spChg chg="mod">
          <ac:chgData name="Yatharth Gupta" userId="e2847f67e220f1e6" providerId="LiveId" clId="{BB268C3E-853A-40E1-8C73-E97A67D91A6E}" dt="2018-06-27T16:37:43.019" v="260" actId="207"/>
          <ac:spMkLst>
            <pc:docMk/>
            <pc:sldMk cId="334866894" sldId="266"/>
            <ac:spMk id="863" creationId="{00000000-0000-0000-0000-000000000000}"/>
          </ac:spMkLst>
        </pc:spChg>
        <pc:spChg chg="mod">
          <ac:chgData name="Yatharth Gupta" userId="e2847f67e220f1e6" providerId="LiveId" clId="{BB268C3E-853A-40E1-8C73-E97A67D91A6E}" dt="2018-06-27T16:37:43.019" v="260" actId="207"/>
          <ac:spMkLst>
            <pc:docMk/>
            <pc:sldMk cId="334866894" sldId="266"/>
            <ac:spMk id="864" creationId="{00000000-0000-0000-0000-000000000000}"/>
          </ac:spMkLst>
        </pc:spChg>
      </pc:sldChg>
      <pc:sldChg chg="delSp modSp modTransition">
        <pc:chgData name="Yatharth Gupta" userId="e2847f67e220f1e6" providerId="LiveId" clId="{BB268C3E-853A-40E1-8C73-E97A67D91A6E}" dt="2018-06-27T16:38:33.284" v="282" actId="20577"/>
        <pc:sldMkLst>
          <pc:docMk/>
          <pc:sldMk cId="562655490" sldId="267"/>
        </pc:sldMkLst>
        <pc:spChg chg="mod">
          <ac:chgData name="Yatharth Gupta" userId="e2847f67e220f1e6" providerId="LiveId" clId="{BB268C3E-853A-40E1-8C73-E97A67D91A6E}" dt="2018-06-27T16:38:33.284" v="282" actId="20577"/>
          <ac:spMkLst>
            <pc:docMk/>
            <pc:sldMk cId="562655490" sldId="267"/>
            <ac:spMk id="869" creationId="{00000000-0000-0000-0000-000000000000}"/>
          </ac:spMkLst>
        </pc:spChg>
        <pc:spChg chg="del">
          <ac:chgData name="Yatharth Gupta" userId="e2847f67e220f1e6" providerId="LiveId" clId="{BB268C3E-853A-40E1-8C73-E97A67D91A6E}" dt="2018-06-27T16:38:28.096" v="265"/>
          <ac:spMkLst>
            <pc:docMk/>
            <pc:sldMk cId="562655490" sldId="267"/>
            <ac:spMk id="870" creationId="{00000000-0000-0000-0000-000000000000}"/>
          </ac:spMkLst>
        </pc:spChg>
      </pc:sldChg>
      <pc:sldChg chg="modSp modTransition">
        <pc:chgData name="Yatharth Gupta" userId="e2847f67e220f1e6" providerId="LiveId" clId="{BB268C3E-853A-40E1-8C73-E97A67D91A6E}" dt="2018-06-27T16:40:56.051" v="297" actId="207"/>
        <pc:sldMkLst>
          <pc:docMk/>
          <pc:sldMk cId="3445398926" sldId="268"/>
        </pc:sldMkLst>
        <pc:spChg chg="mod">
          <ac:chgData name="Yatharth Gupta" userId="e2847f67e220f1e6" providerId="LiveId" clId="{BB268C3E-853A-40E1-8C73-E97A67D91A6E}" dt="2018-06-27T16:40:56.051" v="297" actId="207"/>
          <ac:spMkLst>
            <pc:docMk/>
            <pc:sldMk cId="3445398926" sldId="268"/>
            <ac:spMk id="875" creationId="{00000000-0000-0000-0000-000000000000}"/>
          </ac:spMkLst>
        </pc:spChg>
        <pc:spChg chg="mod">
          <ac:chgData name="Yatharth Gupta" userId="e2847f67e220f1e6" providerId="LiveId" clId="{BB268C3E-853A-40E1-8C73-E97A67D91A6E}" dt="2018-06-27T16:38:53.224" v="284" actId="207"/>
          <ac:spMkLst>
            <pc:docMk/>
            <pc:sldMk cId="3445398926" sldId="268"/>
            <ac:spMk id="876" creationId="{00000000-0000-0000-0000-000000000000}"/>
          </ac:spMkLst>
        </pc:spChg>
      </pc:sldChg>
      <pc:sldChg chg="modSp modTransition">
        <pc:chgData name="Yatharth Gupta" userId="e2847f67e220f1e6" providerId="LiveId" clId="{BB268C3E-853A-40E1-8C73-E97A67D91A6E}" dt="2018-06-27T16:41:01.206" v="298" actId="207"/>
        <pc:sldMkLst>
          <pc:docMk/>
          <pc:sldMk cId="2701122034" sldId="269"/>
        </pc:sldMkLst>
        <pc:spChg chg="mod">
          <ac:chgData name="Yatharth Gupta" userId="e2847f67e220f1e6" providerId="LiveId" clId="{BB268C3E-853A-40E1-8C73-E97A67D91A6E}" dt="2018-06-27T16:41:01.206" v="298" actId="207"/>
          <ac:spMkLst>
            <pc:docMk/>
            <pc:sldMk cId="2701122034" sldId="269"/>
            <ac:spMk id="882" creationId="{00000000-0000-0000-0000-000000000000}"/>
          </ac:spMkLst>
        </pc:spChg>
        <pc:spChg chg="mod">
          <ac:chgData name="Yatharth Gupta" userId="e2847f67e220f1e6" providerId="LiveId" clId="{BB268C3E-853A-40E1-8C73-E97A67D91A6E}" dt="2018-06-27T16:39:50.688" v="290" actId="207"/>
          <ac:spMkLst>
            <pc:docMk/>
            <pc:sldMk cId="2701122034" sldId="269"/>
            <ac:spMk id="883" creationId="{00000000-0000-0000-0000-000000000000}"/>
          </ac:spMkLst>
        </pc:spChg>
        <pc:spChg chg="mod">
          <ac:chgData name="Yatharth Gupta" userId="e2847f67e220f1e6" providerId="LiveId" clId="{BB268C3E-853A-40E1-8C73-E97A67D91A6E}" dt="2018-06-27T16:39:17.269" v="286" actId="2711"/>
          <ac:spMkLst>
            <pc:docMk/>
            <pc:sldMk cId="2701122034" sldId="269"/>
            <ac:spMk id="884" creationId="{00000000-0000-0000-0000-000000000000}"/>
          </ac:spMkLst>
        </pc:spChg>
        <pc:spChg chg="mod">
          <ac:chgData name="Yatharth Gupta" userId="e2847f67e220f1e6" providerId="LiveId" clId="{BB268C3E-853A-40E1-8C73-E97A67D91A6E}" dt="2018-06-27T16:39:17.269" v="286" actId="2711"/>
          <ac:spMkLst>
            <pc:docMk/>
            <pc:sldMk cId="2701122034" sldId="269"/>
            <ac:spMk id="885" creationId="{00000000-0000-0000-0000-000000000000}"/>
          </ac:spMkLst>
        </pc:spChg>
        <pc:spChg chg="mod">
          <ac:chgData name="Yatharth Gupta" userId="e2847f67e220f1e6" providerId="LiveId" clId="{BB268C3E-853A-40E1-8C73-E97A67D91A6E}" dt="2018-06-27T16:39:17.269" v="286" actId="2711"/>
          <ac:spMkLst>
            <pc:docMk/>
            <pc:sldMk cId="2701122034" sldId="269"/>
            <ac:spMk id="887" creationId="{00000000-0000-0000-0000-000000000000}"/>
          </ac:spMkLst>
        </pc:spChg>
        <pc:spChg chg="mod">
          <ac:chgData name="Yatharth Gupta" userId="e2847f67e220f1e6" providerId="LiveId" clId="{BB268C3E-853A-40E1-8C73-E97A67D91A6E}" dt="2018-06-27T16:39:17.269" v="286" actId="2711"/>
          <ac:spMkLst>
            <pc:docMk/>
            <pc:sldMk cId="2701122034" sldId="269"/>
            <ac:spMk id="889" creationId="{00000000-0000-0000-0000-000000000000}"/>
          </ac:spMkLst>
        </pc:spChg>
        <pc:spChg chg="mod">
          <ac:chgData name="Yatharth Gupta" userId="e2847f67e220f1e6" providerId="LiveId" clId="{BB268C3E-853A-40E1-8C73-E97A67D91A6E}" dt="2018-06-27T16:39:17.269" v="286" actId="2711"/>
          <ac:spMkLst>
            <pc:docMk/>
            <pc:sldMk cId="2701122034" sldId="269"/>
            <ac:spMk id="891" creationId="{00000000-0000-0000-0000-000000000000}"/>
          </ac:spMkLst>
        </pc:spChg>
        <pc:spChg chg="mod">
          <ac:chgData name="Yatharth Gupta" userId="e2847f67e220f1e6" providerId="LiveId" clId="{BB268C3E-853A-40E1-8C73-E97A67D91A6E}" dt="2018-06-27T16:39:28.819" v="288" actId="207"/>
          <ac:spMkLst>
            <pc:docMk/>
            <pc:sldMk cId="2701122034" sldId="269"/>
            <ac:spMk id="892" creationId="{00000000-0000-0000-0000-000000000000}"/>
          </ac:spMkLst>
        </pc:spChg>
        <pc:cxnChg chg="mod">
          <ac:chgData name="Yatharth Gupta" userId="e2847f67e220f1e6" providerId="LiveId" clId="{BB268C3E-853A-40E1-8C73-E97A67D91A6E}" dt="2018-06-27T16:40:08.409" v="292" actId="208"/>
          <ac:cxnSpMkLst>
            <pc:docMk/>
            <pc:sldMk cId="2701122034" sldId="269"/>
            <ac:cxnSpMk id="886" creationId="{00000000-0000-0000-0000-000000000000}"/>
          </ac:cxnSpMkLst>
        </pc:cxnChg>
        <pc:cxnChg chg="mod">
          <ac:chgData name="Yatharth Gupta" userId="e2847f67e220f1e6" providerId="LiveId" clId="{BB268C3E-853A-40E1-8C73-E97A67D91A6E}" dt="2018-06-27T16:40:10.892" v="293" actId="208"/>
          <ac:cxnSpMkLst>
            <pc:docMk/>
            <pc:sldMk cId="2701122034" sldId="269"/>
            <ac:cxnSpMk id="888" creationId="{00000000-0000-0000-0000-000000000000}"/>
          </ac:cxnSpMkLst>
        </pc:cxnChg>
        <pc:cxnChg chg="mod">
          <ac:chgData name="Yatharth Gupta" userId="e2847f67e220f1e6" providerId="LiveId" clId="{BB268C3E-853A-40E1-8C73-E97A67D91A6E}" dt="2018-06-27T16:40:13.547" v="294" actId="208"/>
          <ac:cxnSpMkLst>
            <pc:docMk/>
            <pc:sldMk cId="2701122034" sldId="269"/>
            <ac:cxnSpMk id="890" creationId="{00000000-0000-0000-0000-000000000000}"/>
          </ac:cxnSpMkLst>
        </pc:cxnChg>
      </pc:sldChg>
      <pc:sldChg chg="modSp modTransition">
        <pc:chgData name="Yatharth Gupta" userId="e2847f67e220f1e6" providerId="LiveId" clId="{BB268C3E-853A-40E1-8C73-E97A67D91A6E}" dt="2018-06-27T16:41:31.428" v="304" actId="208"/>
        <pc:sldMkLst>
          <pc:docMk/>
          <pc:sldMk cId="624763068" sldId="270"/>
        </pc:sldMkLst>
        <pc:spChg chg="mod">
          <ac:chgData name="Yatharth Gupta" userId="e2847f67e220f1e6" providerId="LiveId" clId="{BB268C3E-853A-40E1-8C73-E97A67D91A6E}" dt="2018-06-27T16:41:05.439" v="299" actId="207"/>
          <ac:spMkLst>
            <pc:docMk/>
            <pc:sldMk cId="624763068" sldId="270"/>
            <ac:spMk id="898" creationId="{00000000-0000-0000-0000-000000000000}"/>
          </ac:spMkLst>
        </pc:spChg>
        <pc:spChg chg="mod">
          <ac:chgData name="Yatharth Gupta" userId="e2847f67e220f1e6" providerId="LiveId" clId="{BB268C3E-853A-40E1-8C73-E97A67D91A6E}" dt="2018-06-27T16:40:45.956" v="296" actId="207"/>
          <ac:spMkLst>
            <pc:docMk/>
            <pc:sldMk cId="624763068" sldId="270"/>
            <ac:spMk id="899" creationId="{00000000-0000-0000-0000-000000000000}"/>
          </ac:spMkLst>
        </pc:spChg>
        <pc:spChg chg="mod">
          <ac:chgData name="Yatharth Gupta" userId="e2847f67e220f1e6" providerId="LiveId" clId="{BB268C3E-853A-40E1-8C73-E97A67D91A6E}" dt="2018-06-27T16:40:45.956" v="296" actId="207"/>
          <ac:spMkLst>
            <pc:docMk/>
            <pc:sldMk cId="624763068" sldId="270"/>
            <ac:spMk id="900" creationId="{00000000-0000-0000-0000-000000000000}"/>
          </ac:spMkLst>
        </pc:spChg>
        <pc:spChg chg="mod">
          <ac:chgData name="Yatharth Gupta" userId="e2847f67e220f1e6" providerId="LiveId" clId="{BB268C3E-853A-40E1-8C73-E97A67D91A6E}" dt="2018-06-27T16:41:11.343" v="300" actId="207"/>
          <ac:spMkLst>
            <pc:docMk/>
            <pc:sldMk cId="624763068" sldId="270"/>
            <ac:spMk id="901" creationId="{00000000-0000-0000-0000-000000000000}"/>
          </ac:spMkLst>
        </pc:spChg>
        <pc:spChg chg="mod">
          <ac:chgData name="Yatharth Gupta" userId="e2847f67e220f1e6" providerId="LiveId" clId="{BB268C3E-853A-40E1-8C73-E97A67D91A6E}" dt="2018-06-27T16:40:45.956" v="296" actId="207"/>
          <ac:spMkLst>
            <pc:docMk/>
            <pc:sldMk cId="624763068" sldId="270"/>
            <ac:spMk id="903" creationId="{00000000-0000-0000-0000-000000000000}"/>
          </ac:spMkLst>
        </pc:spChg>
        <pc:spChg chg="mod">
          <ac:chgData name="Yatharth Gupta" userId="e2847f67e220f1e6" providerId="LiveId" clId="{BB268C3E-853A-40E1-8C73-E97A67D91A6E}" dt="2018-06-27T16:40:45.956" v="296" actId="207"/>
          <ac:spMkLst>
            <pc:docMk/>
            <pc:sldMk cId="624763068" sldId="270"/>
            <ac:spMk id="905" creationId="{00000000-0000-0000-0000-000000000000}"/>
          </ac:spMkLst>
        </pc:spChg>
        <pc:spChg chg="mod">
          <ac:chgData name="Yatharth Gupta" userId="e2847f67e220f1e6" providerId="LiveId" clId="{BB268C3E-853A-40E1-8C73-E97A67D91A6E}" dt="2018-06-27T16:40:45.956" v="296" actId="207"/>
          <ac:spMkLst>
            <pc:docMk/>
            <pc:sldMk cId="624763068" sldId="270"/>
            <ac:spMk id="907" creationId="{00000000-0000-0000-0000-000000000000}"/>
          </ac:spMkLst>
        </pc:spChg>
        <pc:spChg chg="mod">
          <ac:chgData name="Yatharth Gupta" userId="e2847f67e220f1e6" providerId="LiveId" clId="{BB268C3E-853A-40E1-8C73-E97A67D91A6E}" dt="2018-06-27T16:40:45.956" v="296" actId="207"/>
          <ac:spMkLst>
            <pc:docMk/>
            <pc:sldMk cId="624763068" sldId="270"/>
            <ac:spMk id="908" creationId="{00000000-0000-0000-0000-000000000000}"/>
          </ac:spMkLst>
        </pc:spChg>
        <pc:spChg chg="mod">
          <ac:chgData name="Yatharth Gupta" userId="e2847f67e220f1e6" providerId="LiveId" clId="{BB268C3E-853A-40E1-8C73-E97A67D91A6E}" dt="2018-06-27T16:40:45.956" v="296" actId="207"/>
          <ac:spMkLst>
            <pc:docMk/>
            <pc:sldMk cId="624763068" sldId="270"/>
            <ac:spMk id="915" creationId="{00000000-0000-0000-0000-000000000000}"/>
          </ac:spMkLst>
        </pc:spChg>
        <pc:spChg chg="mod">
          <ac:chgData name="Yatharth Gupta" userId="e2847f67e220f1e6" providerId="LiveId" clId="{BB268C3E-853A-40E1-8C73-E97A67D91A6E}" dt="2018-06-27T16:40:45.956" v="296" actId="207"/>
          <ac:spMkLst>
            <pc:docMk/>
            <pc:sldMk cId="624763068" sldId="270"/>
            <ac:spMk id="918" creationId="{00000000-0000-0000-0000-000000000000}"/>
          </ac:spMkLst>
        </pc:spChg>
        <pc:spChg chg="mod">
          <ac:chgData name="Yatharth Gupta" userId="e2847f67e220f1e6" providerId="LiveId" clId="{BB268C3E-853A-40E1-8C73-E97A67D91A6E}" dt="2018-06-27T16:40:45.956" v="296" actId="207"/>
          <ac:spMkLst>
            <pc:docMk/>
            <pc:sldMk cId="624763068" sldId="270"/>
            <ac:spMk id="921" creationId="{00000000-0000-0000-0000-000000000000}"/>
          </ac:spMkLst>
        </pc:spChg>
        <pc:picChg chg="mod">
          <ac:chgData name="Yatharth Gupta" userId="e2847f67e220f1e6" providerId="LiveId" clId="{BB268C3E-853A-40E1-8C73-E97A67D91A6E}" dt="2018-06-27T16:40:45.956" v="296" actId="207"/>
          <ac:picMkLst>
            <pc:docMk/>
            <pc:sldMk cId="624763068" sldId="270"/>
            <ac:picMk id="909" creationId="{00000000-0000-0000-0000-000000000000}"/>
          </ac:picMkLst>
        </pc:picChg>
        <pc:picChg chg="mod">
          <ac:chgData name="Yatharth Gupta" userId="e2847f67e220f1e6" providerId="LiveId" clId="{BB268C3E-853A-40E1-8C73-E97A67D91A6E}" dt="2018-06-27T16:40:45.956" v="296" actId="207"/>
          <ac:picMkLst>
            <pc:docMk/>
            <pc:sldMk cId="624763068" sldId="270"/>
            <ac:picMk id="910" creationId="{00000000-0000-0000-0000-000000000000}"/>
          </ac:picMkLst>
        </pc:picChg>
        <pc:picChg chg="mod">
          <ac:chgData name="Yatharth Gupta" userId="e2847f67e220f1e6" providerId="LiveId" clId="{BB268C3E-853A-40E1-8C73-E97A67D91A6E}" dt="2018-06-27T16:40:45.956" v="296" actId="207"/>
          <ac:picMkLst>
            <pc:docMk/>
            <pc:sldMk cId="624763068" sldId="270"/>
            <ac:picMk id="911" creationId="{00000000-0000-0000-0000-000000000000}"/>
          </ac:picMkLst>
        </pc:picChg>
        <pc:picChg chg="mod">
          <ac:chgData name="Yatharth Gupta" userId="e2847f67e220f1e6" providerId="LiveId" clId="{BB268C3E-853A-40E1-8C73-E97A67D91A6E}" dt="2018-06-27T16:40:45.956" v="296" actId="207"/>
          <ac:picMkLst>
            <pc:docMk/>
            <pc:sldMk cId="624763068" sldId="270"/>
            <ac:picMk id="912" creationId="{00000000-0000-0000-0000-000000000000}"/>
          </ac:picMkLst>
        </pc:picChg>
        <pc:cxnChg chg="mod">
          <ac:chgData name="Yatharth Gupta" userId="e2847f67e220f1e6" providerId="LiveId" clId="{BB268C3E-853A-40E1-8C73-E97A67D91A6E}" dt="2018-06-27T16:41:25.595" v="302" actId="208"/>
          <ac:cxnSpMkLst>
            <pc:docMk/>
            <pc:sldMk cId="624763068" sldId="270"/>
            <ac:cxnSpMk id="902" creationId="{00000000-0000-0000-0000-000000000000}"/>
          </ac:cxnSpMkLst>
        </pc:cxnChg>
        <pc:cxnChg chg="mod">
          <ac:chgData name="Yatharth Gupta" userId="e2847f67e220f1e6" providerId="LiveId" clId="{BB268C3E-853A-40E1-8C73-E97A67D91A6E}" dt="2018-06-27T16:41:28.142" v="303" actId="208"/>
          <ac:cxnSpMkLst>
            <pc:docMk/>
            <pc:sldMk cId="624763068" sldId="270"/>
            <ac:cxnSpMk id="904" creationId="{00000000-0000-0000-0000-000000000000}"/>
          </ac:cxnSpMkLst>
        </pc:cxnChg>
        <pc:cxnChg chg="mod">
          <ac:chgData name="Yatharth Gupta" userId="e2847f67e220f1e6" providerId="LiveId" clId="{BB268C3E-853A-40E1-8C73-E97A67D91A6E}" dt="2018-06-27T16:41:31.428" v="304" actId="208"/>
          <ac:cxnSpMkLst>
            <pc:docMk/>
            <pc:sldMk cId="624763068" sldId="270"/>
            <ac:cxnSpMk id="906"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13"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14"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16"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17"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19" creationId="{00000000-0000-0000-0000-000000000000}"/>
          </ac:cxnSpMkLst>
        </pc:cxnChg>
        <pc:cxnChg chg="mod">
          <ac:chgData name="Yatharth Gupta" userId="e2847f67e220f1e6" providerId="LiveId" clId="{BB268C3E-853A-40E1-8C73-E97A67D91A6E}" dt="2018-06-27T16:40:45.956" v="296" actId="207"/>
          <ac:cxnSpMkLst>
            <pc:docMk/>
            <pc:sldMk cId="624763068" sldId="270"/>
            <ac:cxnSpMk id="920" creationId="{00000000-0000-0000-0000-000000000000}"/>
          </ac:cxnSpMkLst>
        </pc:cxnChg>
      </pc:sldChg>
      <pc:sldChg chg="delSp modSp modTransition">
        <pc:chgData name="Yatharth Gupta" userId="e2847f67e220f1e6" providerId="LiveId" clId="{BB268C3E-853A-40E1-8C73-E97A67D91A6E}" dt="2018-06-27T16:44:44.729" v="306"/>
        <pc:sldMkLst>
          <pc:docMk/>
          <pc:sldMk cId="1585615261" sldId="271"/>
        </pc:sldMkLst>
        <pc:spChg chg="mod">
          <ac:chgData name="Yatharth Gupta" userId="e2847f67e220f1e6" providerId="LiveId" clId="{BB268C3E-853A-40E1-8C73-E97A67D91A6E}" dt="2018-06-27T16:44:39.127" v="305" actId="20577"/>
          <ac:spMkLst>
            <pc:docMk/>
            <pc:sldMk cId="1585615261" sldId="271"/>
            <ac:spMk id="926" creationId="{00000000-0000-0000-0000-000000000000}"/>
          </ac:spMkLst>
        </pc:spChg>
        <pc:spChg chg="del">
          <ac:chgData name="Yatharth Gupta" userId="e2847f67e220f1e6" providerId="LiveId" clId="{BB268C3E-853A-40E1-8C73-E97A67D91A6E}" dt="2018-06-27T16:44:44.729" v="306"/>
          <ac:spMkLst>
            <pc:docMk/>
            <pc:sldMk cId="1585615261" sldId="271"/>
            <ac:spMk id="927" creationId="{00000000-0000-0000-0000-000000000000}"/>
          </ac:spMkLst>
        </pc:spChg>
      </pc:sldChg>
      <pc:sldChg chg="delSp modSp modTransition">
        <pc:chgData name="Yatharth Gupta" userId="e2847f67e220f1e6" providerId="LiveId" clId="{BB268C3E-853A-40E1-8C73-E97A67D91A6E}" dt="2018-06-27T16:46:12.046" v="326" actId="20577"/>
        <pc:sldMkLst>
          <pc:docMk/>
          <pc:sldMk cId="9915944" sldId="272"/>
        </pc:sldMkLst>
        <pc:spChg chg="mod">
          <ac:chgData name="Yatharth Gupta" userId="e2847f67e220f1e6" providerId="LiveId" clId="{BB268C3E-853A-40E1-8C73-E97A67D91A6E}" dt="2018-06-27T16:45:10.233" v="310" actId="207"/>
          <ac:spMkLst>
            <pc:docMk/>
            <pc:sldMk cId="9915944" sldId="272"/>
            <ac:spMk id="933" creationId="{00000000-0000-0000-0000-000000000000}"/>
          </ac:spMkLst>
        </pc:spChg>
        <pc:spChg chg="mod">
          <ac:chgData name="Yatharth Gupta" userId="e2847f67e220f1e6" providerId="LiveId" clId="{BB268C3E-853A-40E1-8C73-E97A67D91A6E}" dt="2018-06-27T16:46:12.046" v="326" actId="20577"/>
          <ac:spMkLst>
            <pc:docMk/>
            <pc:sldMk cId="9915944" sldId="272"/>
            <ac:spMk id="934" creationId="{00000000-0000-0000-0000-000000000000}"/>
          </ac:spMkLst>
        </pc:spChg>
        <pc:spChg chg="del">
          <ac:chgData name="Yatharth Gupta" userId="e2847f67e220f1e6" providerId="LiveId" clId="{BB268C3E-853A-40E1-8C73-E97A67D91A6E}" dt="2018-06-27T16:44:52.815" v="307" actId="478"/>
          <ac:spMkLst>
            <pc:docMk/>
            <pc:sldMk cId="9915944" sldId="272"/>
            <ac:spMk id="935" creationId="{00000000-0000-0000-0000-000000000000}"/>
          </ac:spMkLst>
        </pc:spChg>
        <pc:spChg chg="mod">
          <ac:chgData name="Yatharth Gupta" userId="e2847f67e220f1e6" providerId="LiveId" clId="{BB268C3E-853A-40E1-8C73-E97A67D91A6E}" dt="2018-06-27T16:45:06.033" v="309" actId="207"/>
          <ac:spMkLst>
            <pc:docMk/>
            <pc:sldMk cId="9915944" sldId="272"/>
            <ac:spMk id="936" creationId="{00000000-0000-0000-0000-000000000000}"/>
          </ac:spMkLst>
        </pc:spChg>
        <pc:spChg chg="mod">
          <ac:chgData name="Yatharth Gupta" userId="e2847f67e220f1e6" providerId="LiveId" clId="{BB268C3E-853A-40E1-8C73-E97A67D91A6E}" dt="2018-06-27T16:45:41.796" v="314"/>
          <ac:spMkLst>
            <pc:docMk/>
            <pc:sldMk cId="9915944" sldId="272"/>
            <ac:spMk id="937" creationId="{00000000-0000-0000-0000-000000000000}"/>
          </ac:spMkLst>
        </pc:spChg>
        <pc:spChg chg="mod">
          <ac:chgData name="Yatharth Gupta" userId="e2847f67e220f1e6" providerId="LiveId" clId="{BB268C3E-853A-40E1-8C73-E97A67D91A6E}" dt="2018-06-27T16:45:06.033" v="309" actId="207"/>
          <ac:spMkLst>
            <pc:docMk/>
            <pc:sldMk cId="9915944" sldId="272"/>
            <ac:spMk id="939" creationId="{00000000-0000-0000-0000-000000000000}"/>
          </ac:spMkLst>
        </pc:spChg>
        <pc:spChg chg="mod">
          <ac:chgData name="Yatharth Gupta" userId="e2847f67e220f1e6" providerId="LiveId" clId="{BB268C3E-853A-40E1-8C73-E97A67D91A6E}" dt="2018-06-27T16:45:06.033" v="309" actId="207"/>
          <ac:spMkLst>
            <pc:docMk/>
            <pc:sldMk cId="9915944" sldId="272"/>
            <ac:spMk id="940" creationId="{00000000-0000-0000-0000-000000000000}"/>
          </ac:spMkLst>
        </pc:spChg>
        <pc:spChg chg="mod">
          <ac:chgData name="Yatharth Gupta" userId="e2847f67e220f1e6" providerId="LiveId" clId="{BB268C3E-853A-40E1-8C73-E97A67D91A6E}" dt="2018-06-27T16:45:06.033" v="309" actId="207"/>
          <ac:spMkLst>
            <pc:docMk/>
            <pc:sldMk cId="9915944" sldId="272"/>
            <ac:spMk id="941" creationId="{00000000-0000-0000-0000-000000000000}"/>
          </ac:spMkLst>
        </pc:spChg>
        <pc:spChg chg="mod">
          <ac:chgData name="Yatharth Gupta" userId="e2847f67e220f1e6" providerId="LiveId" clId="{BB268C3E-853A-40E1-8C73-E97A67D91A6E}" dt="2018-06-27T16:45:06.033" v="309" actId="207"/>
          <ac:spMkLst>
            <pc:docMk/>
            <pc:sldMk cId="9915944" sldId="272"/>
            <ac:spMk id="942" creationId="{00000000-0000-0000-0000-000000000000}"/>
          </ac:spMkLst>
        </pc:spChg>
        <pc:spChg chg="mod">
          <ac:chgData name="Yatharth Gupta" userId="e2847f67e220f1e6" providerId="LiveId" clId="{BB268C3E-853A-40E1-8C73-E97A67D91A6E}" dt="2018-06-27T16:45:06.033" v="309" actId="207"/>
          <ac:spMkLst>
            <pc:docMk/>
            <pc:sldMk cId="9915944" sldId="272"/>
            <ac:spMk id="943" creationId="{00000000-0000-0000-0000-000000000000}"/>
          </ac:spMkLst>
        </pc:spChg>
        <pc:spChg chg="mod">
          <ac:chgData name="Yatharth Gupta" userId="e2847f67e220f1e6" providerId="LiveId" clId="{BB268C3E-853A-40E1-8C73-E97A67D91A6E}" dt="2018-06-27T16:45:06.033" v="309" actId="207"/>
          <ac:spMkLst>
            <pc:docMk/>
            <pc:sldMk cId="9915944" sldId="272"/>
            <ac:spMk id="944" creationId="{00000000-0000-0000-0000-000000000000}"/>
          </ac:spMkLst>
        </pc:spChg>
        <pc:spChg chg="mod">
          <ac:chgData name="Yatharth Gupta" userId="e2847f67e220f1e6" providerId="LiveId" clId="{BB268C3E-853A-40E1-8C73-E97A67D91A6E}" dt="2018-06-27T16:45:06.033" v="309" actId="207"/>
          <ac:spMkLst>
            <pc:docMk/>
            <pc:sldMk cId="9915944" sldId="272"/>
            <ac:spMk id="945" creationId="{00000000-0000-0000-0000-000000000000}"/>
          </ac:spMkLst>
        </pc:spChg>
        <pc:spChg chg="mod">
          <ac:chgData name="Yatharth Gupta" userId="e2847f67e220f1e6" providerId="LiveId" clId="{BB268C3E-853A-40E1-8C73-E97A67D91A6E}" dt="2018-06-27T16:45:06.033" v="309" actId="207"/>
          <ac:spMkLst>
            <pc:docMk/>
            <pc:sldMk cId="9915944" sldId="272"/>
            <ac:spMk id="946" creationId="{00000000-0000-0000-0000-000000000000}"/>
          </ac:spMkLst>
        </pc:spChg>
        <pc:spChg chg="mod">
          <ac:chgData name="Yatharth Gupta" userId="e2847f67e220f1e6" providerId="LiveId" clId="{BB268C3E-853A-40E1-8C73-E97A67D91A6E}" dt="2018-06-27T16:45:06.033" v="309" actId="207"/>
          <ac:spMkLst>
            <pc:docMk/>
            <pc:sldMk cId="9915944" sldId="272"/>
            <ac:spMk id="947" creationId="{00000000-0000-0000-0000-000000000000}"/>
          </ac:spMkLst>
        </pc:spChg>
        <pc:spChg chg="mod">
          <ac:chgData name="Yatharth Gupta" userId="e2847f67e220f1e6" providerId="LiveId" clId="{BB268C3E-853A-40E1-8C73-E97A67D91A6E}" dt="2018-06-27T16:45:06.033" v="309" actId="207"/>
          <ac:spMkLst>
            <pc:docMk/>
            <pc:sldMk cId="9915944" sldId="272"/>
            <ac:spMk id="949" creationId="{00000000-0000-0000-0000-000000000000}"/>
          </ac:spMkLst>
        </pc:spChg>
        <pc:spChg chg="mod">
          <ac:chgData name="Yatharth Gupta" userId="e2847f67e220f1e6" providerId="LiveId" clId="{BB268C3E-853A-40E1-8C73-E97A67D91A6E}" dt="2018-06-27T16:45:06.033" v="309" actId="207"/>
          <ac:spMkLst>
            <pc:docMk/>
            <pc:sldMk cId="9915944" sldId="272"/>
            <ac:spMk id="950" creationId="{00000000-0000-0000-0000-000000000000}"/>
          </ac:spMkLst>
        </pc:spChg>
        <pc:spChg chg="mod">
          <ac:chgData name="Yatharth Gupta" userId="e2847f67e220f1e6" providerId="LiveId" clId="{BB268C3E-853A-40E1-8C73-E97A67D91A6E}" dt="2018-06-27T16:45:06.033" v="309" actId="207"/>
          <ac:spMkLst>
            <pc:docMk/>
            <pc:sldMk cId="9915944" sldId="272"/>
            <ac:spMk id="951" creationId="{00000000-0000-0000-0000-000000000000}"/>
          </ac:spMkLst>
        </pc:spChg>
        <pc:spChg chg="mod">
          <ac:chgData name="Yatharth Gupta" userId="e2847f67e220f1e6" providerId="LiveId" clId="{BB268C3E-853A-40E1-8C73-E97A67D91A6E}" dt="2018-06-27T16:45:06.033" v="309" actId="207"/>
          <ac:spMkLst>
            <pc:docMk/>
            <pc:sldMk cId="9915944" sldId="272"/>
            <ac:spMk id="952" creationId="{00000000-0000-0000-0000-000000000000}"/>
          </ac:spMkLst>
        </pc:spChg>
        <pc:picChg chg="mod">
          <ac:chgData name="Yatharth Gupta" userId="e2847f67e220f1e6" providerId="LiveId" clId="{BB268C3E-853A-40E1-8C73-E97A67D91A6E}" dt="2018-06-27T16:45:06.033" v="309" actId="207"/>
          <ac:picMkLst>
            <pc:docMk/>
            <pc:sldMk cId="9915944" sldId="272"/>
            <ac:picMk id="938" creationId="{00000000-0000-0000-0000-000000000000}"/>
          </ac:picMkLst>
        </pc:picChg>
        <pc:cxnChg chg="mod">
          <ac:chgData name="Yatharth Gupta" userId="e2847f67e220f1e6" providerId="LiveId" clId="{BB268C3E-853A-40E1-8C73-E97A67D91A6E}" dt="2018-06-27T16:45:06.033" v="309" actId="207"/>
          <ac:cxnSpMkLst>
            <pc:docMk/>
            <pc:sldMk cId="9915944" sldId="272"/>
            <ac:cxnSpMk id="948" creationId="{00000000-0000-0000-0000-000000000000}"/>
          </ac:cxnSpMkLst>
        </pc:cxnChg>
      </pc:sldChg>
      <pc:sldChg chg="modSp modTransition">
        <pc:chgData name="Yatharth Gupta" userId="e2847f67e220f1e6" providerId="LiveId" clId="{BB268C3E-853A-40E1-8C73-E97A67D91A6E}" dt="2018-06-27T16:47:30.016" v="332" actId="1076"/>
        <pc:sldMkLst>
          <pc:docMk/>
          <pc:sldMk cId="280958436" sldId="273"/>
        </pc:sldMkLst>
        <pc:spChg chg="mod">
          <ac:chgData name="Yatharth Gupta" userId="e2847f67e220f1e6" providerId="LiveId" clId="{BB268C3E-853A-40E1-8C73-E97A67D91A6E}" dt="2018-06-27T16:47:30.016" v="332" actId="1076"/>
          <ac:spMkLst>
            <pc:docMk/>
            <pc:sldMk cId="280958436" sldId="273"/>
            <ac:spMk id="957" creationId="{00000000-0000-0000-0000-000000000000}"/>
          </ac:spMkLst>
        </pc:spChg>
        <pc:spChg chg="mod">
          <ac:chgData name="Yatharth Gupta" userId="e2847f67e220f1e6" providerId="LiveId" clId="{BB268C3E-853A-40E1-8C73-E97A67D91A6E}" dt="2018-06-27T16:47:17.693" v="330" actId="207"/>
          <ac:spMkLst>
            <pc:docMk/>
            <pc:sldMk cId="280958436" sldId="273"/>
            <ac:spMk id="958" creationId="{00000000-0000-0000-0000-000000000000}"/>
          </ac:spMkLst>
        </pc:spChg>
        <pc:spChg chg="mod">
          <ac:chgData name="Yatharth Gupta" userId="e2847f67e220f1e6" providerId="LiveId" clId="{BB268C3E-853A-40E1-8C73-E97A67D91A6E}" dt="2018-06-27T16:47:22.155" v="331" actId="1076"/>
          <ac:spMkLst>
            <pc:docMk/>
            <pc:sldMk cId="280958436" sldId="273"/>
            <ac:spMk id="959" creationId="{00000000-0000-0000-0000-000000000000}"/>
          </ac:spMkLst>
        </pc:spChg>
        <pc:spChg chg="mod">
          <ac:chgData name="Yatharth Gupta" userId="e2847f67e220f1e6" providerId="LiveId" clId="{BB268C3E-853A-40E1-8C73-E97A67D91A6E}" dt="2018-06-27T16:47:30.016" v="332" actId="1076"/>
          <ac:spMkLst>
            <pc:docMk/>
            <pc:sldMk cId="280958436" sldId="273"/>
            <ac:spMk id="966" creationId="{00000000-0000-0000-0000-000000000000}"/>
          </ac:spMkLst>
        </pc:spChg>
        <pc:spChg chg="mod">
          <ac:chgData name="Yatharth Gupta" userId="e2847f67e220f1e6" providerId="LiveId" clId="{BB268C3E-853A-40E1-8C73-E97A67D91A6E}" dt="2018-06-27T16:47:30.016" v="332" actId="1076"/>
          <ac:spMkLst>
            <pc:docMk/>
            <pc:sldMk cId="280958436" sldId="273"/>
            <ac:spMk id="967" creationId="{00000000-0000-0000-0000-000000000000}"/>
          </ac:spMkLst>
        </pc:spChg>
        <pc:spChg chg="mod">
          <ac:chgData name="Yatharth Gupta" userId="e2847f67e220f1e6" providerId="LiveId" clId="{BB268C3E-853A-40E1-8C73-E97A67D91A6E}" dt="2018-06-27T16:47:30.016" v="332" actId="1076"/>
          <ac:spMkLst>
            <pc:docMk/>
            <pc:sldMk cId="280958436" sldId="273"/>
            <ac:spMk id="968" creationId="{00000000-0000-0000-0000-000000000000}"/>
          </ac:spMkLst>
        </pc:spChg>
        <pc:spChg chg="mod">
          <ac:chgData name="Yatharth Gupta" userId="e2847f67e220f1e6" providerId="LiveId" clId="{BB268C3E-853A-40E1-8C73-E97A67D91A6E}" dt="2018-06-27T16:47:30.016" v="332" actId="1076"/>
          <ac:spMkLst>
            <pc:docMk/>
            <pc:sldMk cId="280958436" sldId="273"/>
            <ac:spMk id="969" creationId="{00000000-0000-0000-0000-000000000000}"/>
          </ac:spMkLst>
        </pc:spChg>
        <pc:spChg chg="mod">
          <ac:chgData name="Yatharth Gupta" userId="e2847f67e220f1e6" providerId="LiveId" clId="{BB268C3E-853A-40E1-8C73-E97A67D91A6E}" dt="2018-06-27T16:47:30.016" v="332" actId="1076"/>
          <ac:spMkLst>
            <pc:docMk/>
            <pc:sldMk cId="280958436" sldId="273"/>
            <ac:spMk id="971" creationId="{00000000-0000-0000-0000-000000000000}"/>
          </ac:spMkLst>
        </pc:spChg>
        <pc:picChg chg="mod">
          <ac:chgData name="Yatharth Gupta" userId="e2847f67e220f1e6" providerId="LiveId" clId="{BB268C3E-853A-40E1-8C73-E97A67D91A6E}" dt="2018-06-27T16:47:30.016" v="332" actId="1076"/>
          <ac:picMkLst>
            <pc:docMk/>
            <pc:sldMk cId="280958436" sldId="273"/>
            <ac:picMk id="960" creationId="{00000000-0000-0000-0000-000000000000}"/>
          </ac:picMkLst>
        </pc:picChg>
        <pc:picChg chg="mod">
          <ac:chgData name="Yatharth Gupta" userId="e2847f67e220f1e6" providerId="LiveId" clId="{BB268C3E-853A-40E1-8C73-E97A67D91A6E}" dt="2018-06-27T16:47:30.016" v="332" actId="1076"/>
          <ac:picMkLst>
            <pc:docMk/>
            <pc:sldMk cId="280958436" sldId="273"/>
            <ac:picMk id="961" creationId="{00000000-0000-0000-0000-000000000000}"/>
          </ac:picMkLst>
        </pc:picChg>
        <pc:picChg chg="mod">
          <ac:chgData name="Yatharth Gupta" userId="e2847f67e220f1e6" providerId="LiveId" clId="{BB268C3E-853A-40E1-8C73-E97A67D91A6E}" dt="2018-06-27T16:47:30.016" v="332" actId="1076"/>
          <ac:picMkLst>
            <pc:docMk/>
            <pc:sldMk cId="280958436" sldId="273"/>
            <ac:picMk id="962" creationId="{00000000-0000-0000-0000-000000000000}"/>
          </ac:picMkLst>
        </pc:picChg>
        <pc:picChg chg="mod">
          <ac:chgData name="Yatharth Gupta" userId="e2847f67e220f1e6" providerId="LiveId" clId="{BB268C3E-853A-40E1-8C73-E97A67D91A6E}" dt="2018-06-27T16:47:30.016" v="332" actId="1076"/>
          <ac:picMkLst>
            <pc:docMk/>
            <pc:sldMk cId="280958436" sldId="273"/>
            <ac:picMk id="963" creationId="{00000000-0000-0000-0000-000000000000}"/>
          </ac:picMkLst>
        </pc:picChg>
        <pc:picChg chg="mod">
          <ac:chgData name="Yatharth Gupta" userId="e2847f67e220f1e6" providerId="LiveId" clId="{BB268C3E-853A-40E1-8C73-E97A67D91A6E}" dt="2018-06-27T16:47:30.016" v="332" actId="1076"/>
          <ac:picMkLst>
            <pc:docMk/>
            <pc:sldMk cId="280958436" sldId="273"/>
            <ac:picMk id="964" creationId="{00000000-0000-0000-0000-000000000000}"/>
          </ac:picMkLst>
        </pc:picChg>
        <pc:picChg chg="mod">
          <ac:chgData name="Yatharth Gupta" userId="e2847f67e220f1e6" providerId="LiveId" clId="{BB268C3E-853A-40E1-8C73-E97A67D91A6E}" dt="2018-06-27T16:47:30.016" v="332" actId="1076"/>
          <ac:picMkLst>
            <pc:docMk/>
            <pc:sldMk cId="280958436" sldId="273"/>
            <ac:picMk id="965" creationId="{00000000-0000-0000-0000-000000000000}"/>
          </ac:picMkLst>
        </pc:picChg>
        <pc:cxnChg chg="mod">
          <ac:chgData name="Yatharth Gupta" userId="e2847f67e220f1e6" providerId="LiveId" clId="{BB268C3E-853A-40E1-8C73-E97A67D91A6E}" dt="2018-06-27T16:47:30.016" v="332" actId="1076"/>
          <ac:cxnSpMkLst>
            <pc:docMk/>
            <pc:sldMk cId="280958436" sldId="273"/>
            <ac:cxnSpMk id="970" creationId="{00000000-0000-0000-0000-000000000000}"/>
          </ac:cxnSpMkLst>
        </pc:cxnChg>
        <pc:cxnChg chg="mod">
          <ac:chgData name="Yatharth Gupta" userId="e2847f67e220f1e6" providerId="LiveId" clId="{BB268C3E-853A-40E1-8C73-E97A67D91A6E}" dt="2018-06-27T16:47:30.016" v="332" actId="1076"/>
          <ac:cxnSpMkLst>
            <pc:docMk/>
            <pc:sldMk cId="280958436" sldId="273"/>
            <ac:cxnSpMk id="972" creationId="{00000000-0000-0000-0000-000000000000}"/>
          </ac:cxnSpMkLst>
        </pc:cxnChg>
        <pc:cxnChg chg="mod">
          <ac:chgData name="Yatharth Gupta" userId="e2847f67e220f1e6" providerId="LiveId" clId="{BB268C3E-853A-40E1-8C73-E97A67D91A6E}" dt="2018-06-27T16:47:30.016" v="332" actId="1076"/>
          <ac:cxnSpMkLst>
            <pc:docMk/>
            <pc:sldMk cId="280958436" sldId="273"/>
            <ac:cxnSpMk id="973" creationId="{00000000-0000-0000-0000-000000000000}"/>
          </ac:cxnSpMkLst>
        </pc:cxnChg>
        <pc:cxnChg chg="mod">
          <ac:chgData name="Yatharth Gupta" userId="e2847f67e220f1e6" providerId="LiveId" clId="{BB268C3E-853A-40E1-8C73-E97A67D91A6E}" dt="2018-06-27T16:47:30.016" v="332" actId="1076"/>
          <ac:cxnSpMkLst>
            <pc:docMk/>
            <pc:sldMk cId="280958436" sldId="273"/>
            <ac:cxnSpMk id="974" creationId="{00000000-0000-0000-0000-000000000000}"/>
          </ac:cxnSpMkLst>
        </pc:cxnChg>
      </pc:sldChg>
      <pc:sldChg chg="modSp modTransition">
        <pc:chgData name="Yatharth Gupta" userId="e2847f67e220f1e6" providerId="LiveId" clId="{BB268C3E-853A-40E1-8C73-E97A67D91A6E}" dt="2018-06-27T16:49:24.359" v="376" actId="1076"/>
        <pc:sldMkLst>
          <pc:docMk/>
          <pc:sldMk cId="1683535318" sldId="274"/>
        </pc:sldMkLst>
        <pc:spChg chg="mod">
          <ac:chgData name="Yatharth Gupta" userId="e2847f67e220f1e6" providerId="LiveId" clId="{BB268C3E-853A-40E1-8C73-E97A67D91A6E}" dt="2018-06-27T16:48:10.234" v="335" actId="207"/>
          <ac:spMkLst>
            <pc:docMk/>
            <pc:sldMk cId="1683535318" sldId="274"/>
            <ac:spMk id="979" creationId="{00000000-0000-0000-0000-000000000000}"/>
          </ac:spMkLst>
        </pc:spChg>
        <pc:spChg chg="mod">
          <ac:chgData name="Yatharth Gupta" userId="e2847f67e220f1e6" providerId="LiveId" clId="{BB268C3E-853A-40E1-8C73-E97A67D91A6E}" dt="2018-06-27T16:49:24.359" v="376" actId="1076"/>
          <ac:spMkLst>
            <pc:docMk/>
            <pc:sldMk cId="1683535318" sldId="274"/>
            <ac:spMk id="980" creationId="{00000000-0000-0000-0000-000000000000}"/>
          </ac:spMkLst>
        </pc:spChg>
      </pc:sldChg>
      <pc:sldChg chg="modSp modTransition">
        <pc:chgData name="Yatharth Gupta" userId="e2847f67e220f1e6" providerId="LiveId" clId="{BB268C3E-853A-40E1-8C73-E97A67D91A6E}" dt="2018-06-27T16:50:22.281" v="384" actId="1076"/>
        <pc:sldMkLst>
          <pc:docMk/>
          <pc:sldMk cId="539482330" sldId="275"/>
        </pc:sldMkLst>
        <pc:spChg chg="mod">
          <ac:chgData name="Yatharth Gupta" userId="e2847f67e220f1e6" providerId="LiveId" clId="{BB268C3E-853A-40E1-8C73-E97A67D91A6E}" dt="2018-06-27T16:49:46.485" v="380" actId="207"/>
          <ac:spMkLst>
            <pc:docMk/>
            <pc:sldMk cId="539482330" sldId="275"/>
            <ac:spMk id="985" creationId="{00000000-0000-0000-0000-000000000000}"/>
          </ac:spMkLst>
        </pc:spChg>
        <pc:spChg chg="mod">
          <ac:chgData name="Yatharth Gupta" userId="e2847f67e220f1e6" providerId="LiveId" clId="{BB268C3E-853A-40E1-8C73-E97A67D91A6E}" dt="2018-06-27T16:50:22.281" v="384" actId="1076"/>
          <ac:spMkLst>
            <pc:docMk/>
            <pc:sldMk cId="539482330" sldId="275"/>
            <ac:spMk id="986" creationId="{00000000-0000-0000-0000-000000000000}"/>
          </ac:spMkLst>
        </pc:spChg>
        <pc:spChg chg="mod">
          <ac:chgData name="Yatharth Gupta" userId="e2847f67e220f1e6" providerId="LiveId" clId="{BB268C3E-853A-40E1-8C73-E97A67D91A6E}" dt="2018-06-27T16:49:42.414" v="379" actId="207"/>
          <ac:spMkLst>
            <pc:docMk/>
            <pc:sldMk cId="539482330" sldId="275"/>
            <ac:spMk id="988" creationId="{00000000-0000-0000-0000-000000000000}"/>
          </ac:spMkLst>
        </pc:spChg>
        <pc:spChg chg="mod">
          <ac:chgData name="Yatharth Gupta" userId="e2847f67e220f1e6" providerId="LiveId" clId="{BB268C3E-853A-40E1-8C73-E97A67D91A6E}" dt="2018-06-27T16:49:42.414" v="379" actId="207"/>
          <ac:spMkLst>
            <pc:docMk/>
            <pc:sldMk cId="539482330" sldId="275"/>
            <ac:spMk id="991" creationId="{00000000-0000-0000-0000-000000000000}"/>
          </ac:spMkLst>
        </pc:spChg>
        <pc:picChg chg="mod">
          <ac:chgData name="Yatharth Gupta" userId="e2847f67e220f1e6" providerId="LiveId" clId="{BB268C3E-853A-40E1-8C73-E97A67D91A6E}" dt="2018-06-27T16:49:42.414" v="379" actId="207"/>
          <ac:picMkLst>
            <pc:docMk/>
            <pc:sldMk cId="539482330" sldId="275"/>
            <ac:picMk id="987" creationId="{00000000-0000-0000-0000-000000000000}"/>
          </ac:picMkLst>
        </pc:picChg>
        <pc:cxnChg chg="mod">
          <ac:chgData name="Yatharth Gupta" userId="e2847f67e220f1e6" providerId="LiveId" clId="{BB268C3E-853A-40E1-8C73-E97A67D91A6E}" dt="2018-06-27T16:49:51.812" v="381" actId="208"/>
          <ac:cxnSpMkLst>
            <pc:docMk/>
            <pc:sldMk cId="539482330" sldId="275"/>
            <ac:cxnSpMk id="989" creationId="{00000000-0000-0000-0000-000000000000}"/>
          </ac:cxnSpMkLst>
        </pc:cxnChg>
        <pc:cxnChg chg="mod">
          <ac:chgData name="Yatharth Gupta" userId="e2847f67e220f1e6" providerId="LiveId" clId="{BB268C3E-853A-40E1-8C73-E97A67D91A6E}" dt="2018-06-27T16:49:57.255" v="382" actId="208"/>
          <ac:cxnSpMkLst>
            <pc:docMk/>
            <pc:sldMk cId="539482330" sldId="275"/>
            <ac:cxnSpMk id="990" creationId="{00000000-0000-0000-0000-000000000000}"/>
          </ac:cxnSpMkLst>
        </pc:cxnChg>
        <pc:cxnChg chg="mod">
          <ac:chgData name="Yatharth Gupta" userId="e2847f67e220f1e6" providerId="LiveId" clId="{BB268C3E-853A-40E1-8C73-E97A67D91A6E}" dt="2018-06-27T16:49:42.414" v="379" actId="207"/>
          <ac:cxnSpMkLst>
            <pc:docMk/>
            <pc:sldMk cId="539482330" sldId="275"/>
            <ac:cxnSpMk id="992" creationId="{00000000-0000-0000-0000-000000000000}"/>
          </ac:cxnSpMkLst>
        </pc:cxnChg>
        <pc:cxnChg chg="mod">
          <ac:chgData name="Yatharth Gupta" userId="e2847f67e220f1e6" providerId="LiveId" clId="{BB268C3E-853A-40E1-8C73-E97A67D91A6E}" dt="2018-06-27T16:49:42.414" v="379" actId="207"/>
          <ac:cxnSpMkLst>
            <pc:docMk/>
            <pc:sldMk cId="539482330" sldId="275"/>
            <ac:cxnSpMk id="993" creationId="{00000000-0000-0000-0000-000000000000}"/>
          </ac:cxnSpMkLst>
        </pc:cxnChg>
        <pc:cxnChg chg="mod">
          <ac:chgData name="Yatharth Gupta" userId="e2847f67e220f1e6" providerId="LiveId" clId="{BB268C3E-853A-40E1-8C73-E97A67D91A6E}" dt="2018-06-27T16:49:42.414" v="379" actId="207"/>
          <ac:cxnSpMkLst>
            <pc:docMk/>
            <pc:sldMk cId="539482330" sldId="275"/>
            <ac:cxnSpMk id="994" creationId="{00000000-0000-0000-0000-000000000000}"/>
          </ac:cxnSpMkLst>
        </pc:cxnChg>
        <pc:cxnChg chg="mod">
          <ac:chgData name="Yatharth Gupta" userId="e2847f67e220f1e6" providerId="LiveId" clId="{BB268C3E-853A-40E1-8C73-E97A67D91A6E}" dt="2018-06-27T16:49:42.414" v="379" actId="207"/>
          <ac:cxnSpMkLst>
            <pc:docMk/>
            <pc:sldMk cId="539482330" sldId="275"/>
            <ac:cxnSpMk id="995" creationId="{00000000-0000-0000-0000-000000000000}"/>
          </ac:cxnSpMkLst>
        </pc:cxnChg>
        <pc:cxnChg chg="mod">
          <ac:chgData name="Yatharth Gupta" userId="e2847f67e220f1e6" providerId="LiveId" clId="{BB268C3E-853A-40E1-8C73-E97A67D91A6E}" dt="2018-06-27T16:49:42.414" v="379" actId="207"/>
          <ac:cxnSpMkLst>
            <pc:docMk/>
            <pc:sldMk cId="539482330" sldId="275"/>
            <ac:cxnSpMk id="996" creationId="{00000000-0000-0000-0000-000000000000}"/>
          </ac:cxnSpMkLst>
        </pc:cxnChg>
      </pc:sldChg>
      <pc:sldChg chg="modSp modTransition">
        <pc:chgData name="Yatharth Gupta" userId="e2847f67e220f1e6" providerId="LiveId" clId="{BB268C3E-853A-40E1-8C73-E97A67D91A6E}" dt="2018-06-27T16:50:53.317" v="388"/>
        <pc:sldMkLst>
          <pc:docMk/>
          <pc:sldMk cId="577628856" sldId="276"/>
        </pc:sldMkLst>
        <pc:spChg chg="mod">
          <ac:chgData name="Yatharth Gupta" userId="e2847f67e220f1e6" providerId="LiveId" clId="{BB268C3E-853A-40E1-8C73-E97A67D91A6E}" dt="2018-06-27T16:50:49.094" v="387" actId="207"/>
          <ac:spMkLst>
            <pc:docMk/>
            <pc:sldMk cId="577628856" sldId="276"/>
            <ac:spMk id="1002" creationId="{00000000-0000-0000-0000-000000000000}"/>
          </ac:spMkLst>
        </pc:spChg>
        <pc:spChg chg="mod">
          <ac:chgData name="Yatharth Gupta" userId="e2847f67e220f1e6" providerId="LiveId" clId="{BB268C3E-853A-40E1-8C73-E97A67D91A6E}" dt="2018-06-27T16:50:44.640" v="386" actId="207"/>
          <ac:spMkLst>
            <pc:docMk/>
            <pc:sldMk cId="577628856" sldId="276"/>
            <ac:spMk id="1003" creationId="{00000000-0000-0000-0000-000000000000}"/>
          </ac:spMkLst>
        </pc:spChg>
      </pc:sldChg>
      <pc:sldChg chg="delSp modSp modTransition">
        <pc:chgData name="Yatharth Gupta" userId="e2847f67e220f1e6" providerId="LiveId" clId="{BB268C3E-853A-40E1-8C73-E97A67D91A6E}" dt="2018-06-27T16:55:47.874" v="390"/>
        <pc:sldMkLst>
          <pc:docMk/>
          <pc:sldMk cId="2292156998" sldId="277"/>
        </pc:sldMkLst>
        <pc:spChg chg="mod">
          <ac:chgData name="Yatharth Gupta" userId="e2847f67e220f1e6" providerId="LiveId" clId="{BB268C3E-853A-40E1-8C73-E97A67D91A6E}" dt="2018-06-27T16:55:40.011" v="389" actId="2711"/>
          <ac:spMkLst>
            <pc:docMk/>
            <pc:sldMk cId="2292156998" sldId="277"/>
            <ac:spMk id="1008" creationId="{00000000-0000-0000-0000-000000000000}"/>
          </ac:spMkLst>
        </pc:spChg>
        <pc:spChg chg="del">
          <ac:chgData name="Yatharth Gupta" userId="e2847f67e220f1e6" providerId="LiveId" clId="{BB268C3E-853A-40E1-8C73-E97A67D91A6E}" dt="2018-06-27T16:55:47.874" v="390"/>
          <ac:spMkLst>
            <pc:docMk/>
            <pc:sldMk cId="2292156998" sldId="277"/>
            <ac:spMk id="1009" creationId="{00000000-0000-0000-0000-000000000000}"/>
          </ac:spMkLst>
        </pc:spChg>
      </pc:sldChg>
      <pc:sldChg chg="modSp modTransition">
        <pc:chgData name="Yatharth Gupta" userId="e2847f67e220f1e6" providerId="LiveId" clId="{BB268C3E-853A-40E1-8C73-E97A67D91A6E}" dt="2018-06-27T17:09:08.841" v="442" actId="207"/>
        <pc:sldMkLst>
          <pc:docMk/>
          <pc:sldMk cId="3263745879" sldId="278"/>
        </pc:sldMkLst>
        <pc:spChg chg="mod">
          <ac:chgData name="Yatharth Gupta" userId="e2847f67e220f1e6" providerId="LiveId" clId="{BB268C3E-853A-40E1-8C73-E97A67D91A6E}" dt="2018-06-27T16:57:08.707" v="399" actId="207"/>
          <ac:spMkLst>
            <pc:docMk/>
            <pc:sldMk cId="3263745879" sldId="278"/>
            <ac:spMk id="1014" creationId="{00000000-0000-0000-0000-000000000000}"/>
          </ac:spMkLst>
        </pc:spChg>
        <pc:spChg chg="mod">
          <ac:chgData name="Yatharth Gupta" userId="e2847f67e220f1e6" providerId="LiveId" clId="{BB268C3E-853A-40E1-8C73-E97A67D91A6E}" dt="2018-06-27T16:57:05.078" v="398" actId="207"/>
          <ac:spMkLst>
            <pc:docMk/>
            <pc:sldMk cId="3263745879" sldId="278"/>
            <ac:spMk id="1015" creationId="{00000000-0000-0000-0000-000000000000}"/>
          </ac:spMkLst>
        </pc:spChg>
        <pc:spChg chg="mod">
          <ac:chgData name="Yatharth Gupta" userId="e2847f67e220f1e6" providerId="LiveId" clId="{BB268C3E-853A-40E1-8C73-E97A67D91A6E}" dt="2018-06-27T17:09:06.402" v="441" actId="207"/>
          <ac:spMkLst>
            <pc:docMk/>
            <pc:sldMk cId="3263745879" sldId="278"/>
            <ac:spMk id="1016" creationId="{00000000-0000-0000-0000-000000000000}"/>
          </ac:spMkLst>
        </pc:spChg>
        <pc:spChg chg="mod">
          <ac:chgData name="Yatharth Gupta" userId="e2847f67e220f1e6" providerId="LiveId" clId="{BB268C3E-853A-40E1-8C73-E97A67D91A6E}" dt="2018-06-27T17:09:08.841" v="442" actId="207"/>
          <ac:spMkLst>
            <pc:docMk/>
            <pc:sldMk cId="3263745879" sldId="278"/>
            <ac:spMk id="1017" creationId="{00000000-0000-0000-0000-000000000000}"/>
          </ac:spMkLst>
        </pc:spChg>
      </pc:sldChg>
      <pc:sldChg chg="modSp modTransition">
        <pc:chgData name="Yatharth Gupta" userId="e2847f67e220f1e6" providerId="LiveId" clId="{BB268C3E-853A-40E1-8C73-E97A67D91A6E}" dt="2018-06-27T17:09:00.373" v="440" actId="207"/>
        <pc:sldMkLst>
          <pc:docMk/>
          <pc:sldMk cId="3450171709" sldId="279"/>
        </pc:sldMkLst>
        <pc:spChg chg="mod">
          <ac:chgData name="Yatharth Gupta" userId="e2847f67e220f1e6" providerId="LiveId" clId="{BB268C3E-853A-40E1-8C73-E97A67D91A6E}" dt="2018-06-27T17:08:15.965" v="436" actId="207"/>
          <ac:spMkLst>
            <pc:docMk/>
            <pc:sldMk cId="3450171709" sldId="279"/>
            <ac:spMk id="1022" creationId="{00000000-0000-0000-0000-000000000000}"/>
          </ac:spMkLst>
        </pc:spChg>
        <pc:spChg chg="mod">
          <ac:chgData name="Yatharth Gupta" userId="e2847f67e220f1e6" providerId="LiveId" clId="{BB268C3E-853A-40E1-8C73-E97A67D91A6E}" dt="2018-06-27T17:05:56.810" v="417" actId="2711"/>
          <ac:spMkLst>
            <pc:docMk/>
            <pc:sldMk cId="3450171709" sldId="279"/>
            <ac:spMk id="1023" creationId="{00000000-0000-0000-0000-000000000000}"/>
          </ac:spMkLst>
        </pc:spChg>
        <pc:spChg chg="mod">
          <ac:chgData name="Yatharth Gupta" userId="e2847f67e220f1e6" providerId="LiveId" clId="{BB268C3E-853A-40E1-8C73-E97A67D91A6E}" dt="2018-06-27T17:08:58.223" v="439" actId="207"/>
          <ac:spMkLst>
            <pc:docMk/>
            <pc:sldMk cId="3450171709" sldId="279"/>
            <ac:spMk id="1024" creationId="{00000000-0000-0000-0000-000000000000}"/>
          </ac:spMkLst>
        </pc:spChg>
        <pc:spChg chg="mod">
          <ac:chgData name="Yatharth Gupta" userId="e2847f67e220f1e6" providerId="LiveId" clId="{BB268C3E-853A-40E1-8C73-E97A67D91A6E}" dt="2018-06-27T17:09:00.373" v="440" actId="207"/>
          <ac:spMkLst>
            <pc:docMk/>
            <pc:sldMk cId="3450171709" sldId="279"/>
            <ac:spMk id="1025" creationId="{00000000-0000-0000-0000-000000000000}"/>
          </ac:spMkLst>
        </pc:spChg>
      </pc:sldChg>
      <pc:sldChg chg="delSp modTransition">
        <pc:chgData name="Yatharth Gupta" userId="e2847f67e220f1e6" providerId="LiveId" clId="{BB268C3E-853A-40E1-8C73-E97A67D91A6E}" dt="2018-06-27T17:09:22.653" v="443"/>
        <pc:sldMkLst>
          <pc:docMk/>
          <pc:sldMk cId="869849238" sldId="280"/>
        </pc:sldMkLst>
        <pc:spChg chg="del">
          <ac:chgData name="Yatharth Gupta" userId="e2847f67e220f1e6" providerId="LiveId" clId="{BB268C3E-853A-40E1-8C73-E97A67D91A6E}" dt="2018-06-27T17:09:22.653" v="443"/>
          <ac:spMkLst>
            <pc:docMk/>
            <pc:sldMk cId="869849238" sldId="280"/>
            <ac:spMk id="1031" creationId="{00000000-0000-0000-0000-000000000000}"/>
          </ac:spMkLst>
        </pc:spChg>
      </pc:sldChg>
      <pc:sldChg chg="modSp modTransition">
        <pc:chgData name="Yatharth Gupta" userId="e2847f67e220f1e6" providerId="LiveId" clId="{BB268C3E-853A-40E1-8C73-E97A67D91A6E}" dt="2018-06-27T17:10:53.887" v="452"/>
        <pc:sldMkLst>
          <pc:docMk/>
          <pc:sldMk cId="194530687" sldId="281"/>
        </pc:sldMkLst>
        <pc:spChg chg="mod">
          <ac:chgData name="Yatharth Gupta" userId="e2847f67e220f1e6" providerId="LiveId" clId="{BB268C3E-853A-40E1-8C73-E97A67D91A6E}" dt="2018-06-27T17:10:37.744" v="449" actId="207"/>
          <ac:spMkLst>
            <pc:docMk/>
            <pc:sldMk cId="194530687" sldId="281"/>
            <ac:spMk id="1037" creationId="{00000000-0000-0000-0000-000000000000}"/>
          </ac:spMkLst>
        </pc:spChg>
        <pc:spChg chg="mod">
          <ac:chgData name="Yatharth Gupta" userId="e2847f67e220f1e6" providerId="LiveId" clId="{BB268C3E-853A-40E1-8C73-E97A67D91A6E}" dt="2018-06-27T17:10:45.998" v="450" actId="207"/>
          <ac:spMkLst>
            <pc:docMk/>
            <pc:sldMk cId="194530687" sldId="281"/>
            <ac:spMk id="1038" creationId="{00000000-0000-0000-0000-000000000000}"/>
          </ac:spMkLst>
        </pc:spChg>
        <pc:spChg chg="mod">
          <ac:chgData name="Yatharth Gupta" userId="e2847f67e220f1e6" providerId="LiveId" clId="{BB268C3E-853A-40E1-8C73-E97A67D91A6E}" dt="2018-06-27T17:10:48.448" v="451" actId="207"/>
          <ac:spMkLst>
            <pc:docMk/>
            <pc:sldMk cId="194530687" sldId="281"/>
            <ac:spMk id="1039" creationId="{00000000-0000-0000-0000-000000000000}"/>
          </ac:spMkLst>
        </pc:spChg>
      </pc:sldChg>
      <pc:sldChg chg="modSp modTransition">
        <pc:chgData name="Yatharth Gupta" userId="e2847f67e220f1e6" providerId="LiveId" clId="{BB268C3E-853A-40E1-8C73-E97A67D91A6E}" dt="2018-06-27T17:12:05.761" v="464" actId="20577"/>
        <pc:sldMkLst>
          <pc:docMk/>
          <pc:sldMk cId="896119475" sldId="282"/>
        </pc:sldMkLst>
        <pc:spChg chg="mod">
          <ac:chgData name="Yatharth Gupta" userId="e2847f67e220f1e6" providerId="LiveId" clId="{BB268C3E-853A-40E1-8C73-E97A67D91A6E}" dt="2018-06-27T17:12:05.761" v="464" actId="20577"/>
          <ac:spMkLst>
            <pc:docMk/>
            <pc:sldMk cId="896119475" sldId="282"/>
            <ac:spMk id="1045" creationId="{00000000-0000-0000-0000-000000000000}"/>
          </ac:spMkLst>
        </pc:spChg>
        <pc:spChg chg="mod">
          <ac:chgData name="Yatharth Gupta" userId="e2847f67e220f1e6" providerId="LiveId" clId="{BB268C3E-853A-40E1-8C73-E97A67D91A6E}" dt="2018-06-27T17:11:40.771" v="455" actId="207"/>
          <ac:spMkLst>
            <pc:docMk/>
            <pc:sldMk cId="896119475" sldId="282"/>
            <ac:spMk id="1046" creationId="{00000000-0000-0000-0000-000000000000}"/>
          </ac:spMkLst>
        </pc:spChg>
      </pc:sldChg>
      <pc:sldChg chg="delSp modTransition">
        <pc:chgData name="Yatharth Gupta" userId="e2847f67e220f1e6" providerId="LiveId" clId="{BB268C3E-853A-40E1-8C73-E97A67D91A6E}" dt="2018-06-27T17:12:33.823" v="465"/>
        <pc:sldMkLst>
          <pc:docMk/>
          <pc:sldMk cId="2889924173" sldId="283"/>
        </pc:sldMkLst>
        <pc:spChg chg="del">
          <ac:chgData name="Yatharth Gupta" userId="e2847f67e220f1e6" providerId="LiveId" clId="{BB268C3E-853A-40E1-8C73-E97A67D91A6E}" dt="2018-06-27T17:12:33.823" v="465"/>
          <ac:spMkLst>
            <pc:docMk/>
            <pc:sldMk cId="2889924173" sldId="283"/>
            <ac:spMk id="1053" creationId="{00000000-0000-0000-0000-000000000000}"/>
          </ac:spMkLst>
        </pc:spChg>
      </pc:sldChg>
      <pc:sldChg chg="delSp modTransition">
        <pc:chgData name="Yatharth Gupta" userId="e2847f67e220f1e6" providerId="LiveId" clId="{BB268C3E-853A-40E1-8C73-E97A67D91A6E}" dt="2018-06-27T17:12:45.244" v="466"/>
        <pc:sldMkLst>
          <pc:docMk/>
          <pc:sldMk cId="947525804" sldId="285"/>
        </pc:sldMkLst>
        <pc:spChg chg="del">
          <ac:chgData name="Yatharth Gupta" userId="e2847f67e220f1e6" providerId="LiveId" clId="{BB268C3E-853A-40E1-8C73-E97A67D91A6E}" dt="2018-06-27T17:12:45.244" v="466"/>
          <ac:spMkLst>
            <pc:docMk/>
            <pc:sldMk cId="947525804" sldId="285"/>
            <ac:spMk id="3" creationId="{00000000-0000-0000-0000-000000000000}"/>
          </ac:spMkLst>
        </pc:spChg>
      </pc:sldChg>
      <pc:sldChg chg="modSp">
        <pc:chgData name="Yatharth Gupta" userId="e2847f67e220f1e6" providerId="LiveId" clId="{BB268C3E-853A-40E1-8C73-E97A67D91A6E}" dt="2018-06-27T16:08:00.406" v="5" actId="20577"/>
        <pc:sldMkLst>
          <pc:docMk/>
          <pc:sldMk cId="3144926902" sldId="295"/>
        </pc:sldMkLst>
        <pc:spChg chg="mod">
          <ac:chgData name="Yatharth Gupta" userId="e2847f67e220f1e6" providerId="LiveId" clId="{BB268C3E-853A-40E1-8C73-E97A67D91A6E}" dt="2018-06-27T16:08:00.406" v="5" actId="20577"/>
          <ac:spMkLst>
            <pc:docMk/>
            <pc:sldMk cId="3144926902" sldId="295"/>
            <ac:spMk id="2" creationId="{5DBD81C8-FC8F-473A-9970-F8EC732F11B9}"/>
          </ac:spMkLst>
        </pc:spChg>
      </pc:sldChg>
      <pc:sldChg chg="del">
        <pc:chgData name="Yatharth Gupta" userId="e2847f67e220f1e6" providerId="LiveId" clId="{BB268C3E-853A-40E1-8C73-E97A67D91A6E}" dt="2018-06-27T17:13:03.563" v="477" actId="2696"/>
        <pc:sldMkLst>
          <pc:docMk/>
          <pc:sldMk cId="3789288638" sldId="311"/>
        </pc:sldMkLst>
      </pc:sldChg>
      <pc:sldChg chg="del">
        <pc:chgData name="Yatharth Gupta" userId="e2847f67e220f1e6" providerId="LiveId" clId="{BB268C3E-853A-40E1-8C73-E97A67D91A6E}" dt="2018-06-27T17:13:03.747" v="478" actId="2696"/>
        <pc:sldMkLst>
          <pc:docMk/>
          <pc:sldMk cId="3090411879" sldId="312"/>
        </pc:sldMkLst>
      </pc:sldChg>
      <pc:sldChg chg="del">
        <pc:chgData name="Yatharth Gupta" userId="e2847f67e220f1e6" providerId="LiveId" clId="{BB268C3E-853A-40E1-8C73-E97A67D91A6E}" dt="2018-06-27T17:13:03.778" v="479" actId="2696"/>
        <pc:sldMkLst>
          <pc:docMk/>
          <pc:sldMk cId="3831903748" sldId="313"/>
        </pc:sldMkLst>
      </pc:sldChg>
      <pc:sldChg chg="del">
        <pc:chgData name="Yatharth Gupta" userId="e2847f67e220f1e6" providerId="LiveId" clId="{BB268C3E-853A-40E1-8C73-E97A67D91A6E}" dt="2018-06-27T17:13:01.964" v="467" actId="2696"/>
        <pc:sldMkLst>
          <pc:docMk/>
          <pc:sldMk cId="1013493650" sldId="321"/>
        </pc:sldMkLst>
      </pc:sldChg>
      <pc:sldChg chg="del">
        <pc:chgData name="Yatharth Gupta" userId="e2847f67e220f1e6" providerId="LiveId" clId="{BB268C3E-853A-40E1-8C73-E97A67D91A6E}" dt="2018-06-27T17:13:02.026" v="468" actId="2696"/>
        <pc:sldMkLst>
          <pc:docMk/>
          <pc:sldMk cId="1225838889" sldId="322"/>
        </pc:sldMkLst>
      </pc:sldChg>
      <pc:sldChg chg="del">
        <pc:chgData name="Yatharth Gupta" userId="e2847f67e220f1e6" providerId="LiveId" clId="{BB268C3E-853A-40E1-8C73-E97A67D91A6E}" dt="2018-06-27T17:13:02.136" v="469" actId="2696"/>
        <pc:sldMkLst>
          <pc:docMk/>
          <pc:sldMk cId="2748330750" sldId="323"/>
        </pc:sldMkLst>
      </pc:sldChg>
      <pc:sldChg chg="del">
        <pc:chgData name="Yatharth Gupta" userId="e2847f67e220f1e6" providerId="LiveId" clId="{BB268C3E-853A-40E1-8C73-E97A67D91A6E}" dt="2018-06-27T17:13:02.526" v="472" actId="2696"/>
        <pc:sldMkLst>
          <pc:docMk/>
          <pc:sldMk cId="3151890659" sldId="324"/>
        </pc:sldMkLst>
      </pc:sldChg>
      <pc:sldChg chg="del">
        <pc:chgData name="Yatharth Gupta" userId="e2847f67e220f1e6" providerId="LiveId" clId="{BB268C3E-853A-40E1-8C73-E97A67D91A6E}" dt="2018-06-27T17:13:02.308" v="470" actId="2696"/>
        <pc:sldMkLst>
          <pc:docMk/>
          <pc:sldMk cId="2099723191" sldId="325"/>
        </pc:sldMkLst>
      </pc:sldChg>
      <pc:sldChg chg="del">
        <pc:chgData name="Yatharth Gupta" userId="e2847f67e220f1e6" providerId="LiveId" clId="{BB268C3E-853A-40E1-8C73-E97A67D91A6E}" dt="2018-06-27T17:13:03.360" v="476" actId="2696"/>
        <pc:sldMkLst>
          <pc:docMk/>
          <pc:sldMk cId="496179077" sldId="326"/>
        </pc:sldMkLst>
      </pc:sldChg>
      <pc:sldChg chg="del">
        <pc:chgData name="Yatharth Gupta" userId="e2847f67e220f1e6" providerId="LiveId" clId="{BB268C3E-853A-40E1-8C73-E97A67D91A6E}" dt="2018-06-27T17:13:03.950" v="483" actId="2696"/>
        <pc:sldMkLst>
          <pc:docMk/>
          <pc:sldMk cId="1229905082" sldId="328"/>
        </pc:sldMkLst>
      </pc:sldChg>
      <pc:sldChg chg="del">
        <pc:chgData name="Yatharth Gupta" userId="e2847f67e220f1e6" providerId="LiveId" clId="{BB268C3E-853A-40E1-8C73-E97A67D91A6E}" dt="2018-06-27T17:13:04.044" v="484" actId="2696"/>
        <pc:sldMkLst>
          <pc:docMk/>
          <pc:sldMk cId="4104743131" sldId="329"/>
        </pc:sldMkLst>
      </pc:sldChg>
      <pc:sldChg chg="del">
        <pc:chgData name="Yatharth Gupta" userId="e2847f67e220f1e6" providerId="LiveId" clId="{BB268C3E-853A-40E1-8C73-E97A67D91A6E}" dt="2018-06-27T17:13:04.106" v="485" actId="2696"/>
        <pc:sldMkLst>
          <pc:docMk/>
          <pc:sldMk cId="3063751392" sldId="330"/>
        </pc:sldMkLst>
      </pc:sldChg>
      <pc:sldChg chg="del">
        <pc:chgData name="Yatharth Gupta" userId="e2847f67e220f1e6" providerId="LiveId" clId="{BB268C3E-853A-40E1-8C73-E97A67D91A6E}" dt="2018-06-27T17:13:04.138" v="486" actId="2696"/>
        <pc:sldMkLst>
          <pc:docMk/>
          <pc:sldMk cId="3265752957" sldId="331"/>
        </pc:sldMkLst>
      </pc:sldChg>
      <pc:sldChg chg="del">
        <pc:chgData name="Yatharth Gupta" userId="e2847f67e220f1e6" providerId="LiveId" clId="{BB268C3E-853A-40E1-8C73-E97A67D91A6E}" dt="2018-06-27T17:13:04.216" v="487" actId="2696"/>
        <pc:sldMkLst>
          <pc:docMk/>
          <pc:sldMk cId="3458453902" sldId="332"/>
        </pc:sldMkLst>
      </pc:sldChg>
      <pc:sldChg chg="del">
        <pc:chgData name="Yatharth Gupta" userId="e2847f67e220f1e6" providerId="LiveId" clId="{BB268C3E-853A-40E1-8C73-E97A67D91A6E}" dt="2018-06-27T17:13:03.157" v="475" actId="2696"/>
        <pc:sldMkLst>
          <pc:docMk/>
          <pc:sldMk cId="3345009278" sldId="334"/>
        </pc:sldMkLst>
      </pc:sldChg>
      <pc:sldChg chg="del">
        <pc:chgData name="Yatharth Gupta" userId="e2847f67e220f1e6" providerId="LiveId" clId="{BB268C3E-853A-40E1-8C73-E97A67D91A6E}" dt="2018-06-27T17:13:02.417" v="471" actId="2696"/>
        <pc:sldMkLst>
          <pc:docMk/>
          <pc:sldMk cId="3616330634" sldId="341"/>
        </pc:sldMkLst>
      </pc:sldChg>
      <pc:sldChg chg="del">
        <pc:chgData name="Yatharth Gupta" userId="e2847f67e220f1e6" providerId="LiveId" clId="{BB268C3E-853A-40E1-8C73-E97A67D91A6E}" dt="2018-06-27T17:13:04.497" v="490" actId="2696"/>
        <pc:sldMkLst>
          <pc:docMk/>
          <pc:sldMk cId="810805130" sldId="344"/>
        </pc:sldMkLst>
      </pc:sldChg>
      <pc:sldChg chg="del">
        <pc:chgData name="Yatharth Gupta" userId="e2847f67e220f1e6" providerId="LiveId" clId="{BB268C3E-853A-40E1-8C73-E97A67D91A6E}" dt="2018-06-27T17:13:04.513" v="491" actId="2696"/>
        <pc:sldMkLst>
          <pc:docMk/>
          <pc:sldMk cId="1556654933" sldId="345"/>
        </pc:sldMkLst>
      </pc:sldChg>
      <pc:sldChg chg="del">
        <pc:chgData name="Yatharth Gupta" userId="e2847f67e220f1e6" providerId="LiveId" clId="{BB268C3E-853A-40E1-8C73-E97A67D91A6E}" dt="2018-06-27T17:13:04.560" v="492" actId="2696"/>
        <pc:sldMkLst>
          <pc:docMk/>
          <pc:sldMk cId="3602269594" sldId="346"/>
        </pc:sldMkLst>
      </pc:sldChg>
      <pc:sldChg chg="del">
        <pc:chgData name="Yatharth Gupta" userId="e2847f67e220f1e6" providerId="LiveId" clId="{BB268C3E-853A-40E1-8C73-E97A67D91A6E}" dt="2018-06-27T17:13:04.591" v="493" actId="2696"/>
        <pc:sldMkLst>
          <pc:docMk/>
          <pc:sldMk cId="2341812262" sldId="347"/>
        </pc:sldMkLst>
      </pc:sldChg>
      <pc:sldChg chg="del">
        <pc:chgData name="Yatharth Gupta" userId="e2847f67e220f1e6" providerId="LiveId" clId="{BB268C3E-853A-40E1-8C73-E97A67D91A6E}" dt="2018-06-27T17:13:04.793" v="494" actId="2696"/>
        <pc:sldMkLst>
          <pc:docMk/>
          <pc:sldMk cId="1963585610" sldId="348"/>
        </pc:sldMkLst>
      </pc:sldChg>
      <pc:sldChg chg="del">
        <pc:chgData name="Yatharth Gupta" userId="e2847f67e220f1e6" providerId="LiveId" clId="{BB268C3E-853A-40E1-8C73-E97A67D91A6E}" dt="2018-06-27T17:13:04.824" v="496" actId="2696"/>
        <pc:sldMkLst>
          <pc:docMk/>
          <pc:sldMk cId="1711888190" sldId="349"/>
        </pc:sldMkLst>
      </pc:sldChg>
      <pc:sldChg chg="del">
        <pc:chgData name="Yatharth Gupta" userId="e2847f67e220f1e6" providerId="LiveId" clId="{BB268C3E-853A-40E1-8C73-E97A67D91A6E}" dt="2018-06-27T17:13:04.840" v="497" actId="2696"/>
        <pc:sldMkLst>
          <pc:docMk/>
          <pc:sldMk cId="4084894814" sldId="350"/>
        </pc:sldMkLst>
      </pc:sldChg>
      <pc:sldChg chg="del">
        <pc:chgData name="Yatharth Gupta" userId="e2847f67e220f1e6" providerId="LiveId" clId="{BB268C3E-853A-40E1-8C73-E97A67D91A6E}" dt="2018-06-27T17:13:04.871" v="498" actId="2696"/>
        <pc:sldMkLst>
          <pc:docMk/>
          <pc:sldMk cId="1894428104" sldId="351"/>
        </pc:sldMkLst>
      </pc:sldChg>
      <pc:sldChg chg="del">
        <pc:chgData name="Yatharth Gupta" userId="e2847f67e220f1e6" providerId="LiveId" clId="{BB268C3E-853A-40E1-8C73-E97A67D91A6E}" dt="2018-06-27T17:13:04.887" v="499" actId="2696"/>
        <pc:sldMkLst>
          <pc:docMk/>
          <pc:sldMk cId="3191495391" sldId="352"/>
        </pc:sldMkLst>
      </pc:sldChg>
      <pc:sldChg chg="del">
        <pc:chgData name="Yatharth Gupta" userId="e2847f67e220f1e6" providerId="LiveId" clId="{BB268C3E-853A-40E1-8C73-E97A67D91A6E}" dt="2018-06-27T17:13:04.918" v="500" actId="2696"/>
        <pc:sldMkLst>
          <pc:docMk/>
          <pc:sldMk cId="90851168" sldId="353"/>
        </pc:sldMkLst>
      </pc:sldChg>
      <pc:sldChg chg="del">
        <pc:chgData name="Yatharth Gupta" userId="e2847f67e220f1e6" providerId="LiveId" clId="{BB268C3E-853A-40E1-8C73-E97A67D91A6E}" dt="2018-06-27T17:13:05.012" v="501" actId="2696"/>
        <pc:sldMkLst>
          <pc:docMk/>
          <pc:sldMk cId="3922773613" sldId="354"/>
        </pc:sldMkLst>
      </pc:sldChg>
      <pc:sldChg chg="del">
        <pc:chgData name="Yatharth Gupta" userId="e2847f67e220f1e6" providerId="LiveId" clId="{BB268C3E-853A-40E1-8C73-E97A67D91A6E}" dt="2018-06-27T17:13:05.043" v="502" actId="2696"/>
        <pc:sldMkLst>
          <pc:docMk/>
          <pc:sldMk cId="60436117" sldId="355"/>
        </pc:sldMkLst>
      </pc:sldChg>
      <pc:sldChg chg="del">
        <pc:chgData name="Yatharth Gupta" userId="e2847f67e220f1e6" providerId="LiveId" clId="{BB268C3E-853A-40E1-8C73-E97A67D91A6E}" dt="2018-06-27T17:13:05.090" v="503" actId="2696"/>
        <pc:sldMkLst>
          <pc:docMk/>
          <pc:sldMk cId="314317076" sldId="356"/>
        </pc:sldMkLst>
      </pc:sldChg>
      <pc:sldChg chg="del">
        <pc:chgData name="Yatharth Gupta" userId="e2847f67e220f1e6" providerId="LiveId" clId="{BB268C3E-853A-40E1-8C73-E97A67D91A6E}" dt="2018-06-27T17:13:05.106" v="504" actId="2696"/>
        <pc:sldMkLst>
          <pc:docMk/>
          <pc:sldMk cId="1688985043" sldId="357"/>
        </pc:sldMkLst>
      </pc:sldChg>
      <pc:sldChg chg="del">
        <pc:chgData name="Yatharth Gupta" userId="e2847f67e220f1e6" providerId="LiveId" clId="{BB268C3E-853A-40E1-8C73-E97A67D91A6E}" dt="2018-06-27T17:13:05.153" v="505" actId="2696"/>
        <pc:sldMkLst>
          <pc:docMk/>
          <pc:sldMk cId="4117893248" sldId="358"/>
        </pc:sldMkLst>
      </pc:sldChg>
      <pc:sldChg chg="del">
        <pc:chgData name="Yatharth Gupta" userId="e2847f67e220f1e6" providerId="LiveId" clId="{BB268C3E-853A-40E1-8C73-E97A67D91A6E}" dt="2018-06-27T17:13:05.184" v="506" actId="2696"/>
        <pc:sldMkLst>
          <pc:docMk/>
          <pc:sldMk cId="2153864995" sldId="359"/>
        </pc:sldMkLst>
      </pc:sldChg>
      <pc:sldChg chg="del">
        <pc:chgData name="Yatharth Gupta" userId="e2847f67e220f1e6" providerId="LiveId" clId="{BB268C3E-853A-40E1-8C73-E97A67D91A6E}" dt="2018-06-27T17:13:05.231" v="507" actId="2696"/>
        <pc:sldMkLst>
          <pc:docMk/>
          <pc:sldMk cId="2322314234" sldId="360"/>
        </pc:sldMkLst>
      </pc:sldChg>
      <pc:sldChg chg="del">
        <pc:chgData name="Yatharth Gupta" userId="e2847f67e220f1e6" providerId="LiveId" clId="{BB268C3E-853A-40E1-8C73-E97A67D91A6E}" dt="2018-06-27T17:13:05.262" v="508" actId="2696"/>
        <pc:sldMkLst>
          <pc:docMk/>
          <pc:sldMk cId="2012861910" sldId="361"/>
        </pc:sldMkLst>
      </pc:sldChg>
      <pc:sldChg chg="del">
        <pc:chgData name="Yatharth Gupta" userId="e2847f67e220f1e6" providerId="LiveId" clId="{BB268C3E-853A-40E1-8C73-E97A67D91A6E}" dt="2018-06-27T17:13:05.356" v="509" actId="2696"/>
        <pc:sldMkLst>
          <pc:docMk/>
          <pc:sldMk cId="3138389692" sldId="362"/>
        </pc:sldMkLst>
      </pc:sldChg>
      <pc:sldChg chg="del">
        <pc:chgData name="Yatharth Gupta" userId="e2847f67e220f1e6" providerId="LiveId" clId="{BB268C3E-853A-40E1-8C73-E97A67D91A6E}" dt="2018-06-27T17:13:05.465" v="510" actId="2696"/>
        <pc:sldMkLst>
          <pc:docMk/>
          <pc:sldMk cId="147007614" sldId="363"/>
        </pc:sldMkLst>
      </pc:sldChg>
      <pc:sldChg chg="del">
        <pc:chgData name="Yatharth Gupta" userId="e2847f67e220f1e6" providerId="LiveId" clId="{BB268C3E-853A-40E1-8C73-E97A67D91A6E}" dt="2018-06-27T17:13:05.496" v="511" actId="2696"/>
        <pc:sldMkLst>
          <pc:docMk/>
          <pc:sldMk cId="815421558" sldId="364"/>
        </pc:sldMkLst>
      </pc:sldChg>
      <pc:sldChg chg="del">
        <pc:chgData name="Yatharth Gupta" userId="e2847f67e220f1e6" providerId="LiveId" clId="{BB268C3E-853A-40E1-8C73-E97A67D91A6E}" dt="2018-06-27T17:13:05.528" v="512" actId="2696"/>
        <pc:sldMkLst>
          <pc:docMk/>
          <pc:sldMk cId="766490695" sldId="365"/>
        </pc:sldMkLst>
      </pc:sldChg>
      <pc:sldChg chg="del">
        <pc:chgData name="Yatharth Gupta" userId="e2847f67e220f1e6" providerId="LiveId" clId="{BB268C3E-853A-40E1-8C73-E97A67D91A6E}" dt="2018-06-27T17:13:05.543" v="513" actId="2696"/>
        <pc:sldMkLst>
          <pc:docMk/>
          <pc:sldMk cId="3538836363" sldId="366"/>
        </pc:sldMkLst>
      </pc:sldChg>
      <pc:sldChg chg="del">
        <pc:chgData name="Yatharth Gupta" userId="e2847f67e220f1e6" providerId="LiveId" clId="{BB268C3E-853A-40E1-8C73-E97A67D91A6E}" dt="2018-06-27T17:13:03.063" v="473" actId="2696"/>
        <pc:sldMkLst>
          <pc:docMk/>
          <pc:sldMk cId="3612484443" sldId="367"/>
        </pc:sldMkLst>
      </pc:sldChg>
      <pc:sldChg chg="del">
        <pc:chgData name="Yatharth Gupta" userId="e2847f67e220f1e6" providerId="LiveId" clId="{BB268C3E-853A-40E1-8C73-E97A67D91A6E}" dt="2018-06-27T17:13:05.574" v="514" actId="2696"/>
        <pc:sldMkLst>
          <pc:docMk/>
          <pc:sldMk cId="2978891642" sldId="368"/>
        </pc:sldMkLst>
      </pc:sldChg>
      <pc:sldChg chg="del">
        <pc:chgData name="Yatharth Gupta" userId="e2847f67e220f1e6" providerId="LiveId" clId="{BB268C3E-853A-40E1-8C73-E97A67D91A6E}" dt="2018-06-27T17:13:05.606" v="515" actId="2696"/>
        <pc:sldMkLst>
          <pc:docMk/>
          <pc:sldMk cId="1350882341" sldId="369"/>
        </pc:sldMkLst>
      </pc:sldChg>
      <pc:sldChg chg="del">
        <pc:chgData name="Yatharth Gupta" userId="e2847f67e220f1e6" providerId="LiveId" clId="{BB268C3E-853A-40E1-8C73-E97A67D91A6E}" dt="2018-06-27T17:13:05.664" v="516" actId="2696"/>
        <pc:sldMkLst>
          <pc:docMk/>
          <pc:sldMk cId="4274635750" sldId="370"/>
        </pc:sldMkLst>
      </pc:sldChg>
      <pc:sldChg chg="del">
        <pc:chgData name="Yatharth Gupta" userId="e2847f67e220f1e6" providerId="LiveId" clId="{BB268C3E-853A-40E1-8C73-E97A67D91A6E}" dt="2018-06-27T17:13:05.730" v="517" actId="2696"/>
        <pc:sldMkLst>
          <pc:docMk/>
          <pc:sldMk cId="2683416502" sldId="371"/>
        </pc:sldMkLst>
      </pc:sldChg>
      <pc:sldChg chg="del">
        <pc:chgData name="Yatharth Gupta" userId="e2847f67e220f1e6" providerId="LiveId" clId="{BB268C3E-853A-40E1-8C73-E97A67D91A6E}" dt="2018-06-27T17:13:05.746" v="518" actId="2696"/>
        <pc:sldMkLst>
          <pc:docMk/>
          <pc:sldMk cId="531059983" sldId="372"/>
        </pc:sldMkLst>
      </pc:sldChg>
      <pc:sldChg chg="del">
        <pc:chgData name="Yatharth Gupta" userId="e2847f67e220f1e6" providerId="LiveId" clId="{BB268C3E-853A-40E1-8C73-E97A67D91A6E}" dt="2018-06-27T17:13:04.341" v="488" actId="2696"/>
        <pc:sldMkLst>
          <pc:docMk/>
          <pc:sldMk cId="2241495398" sldId="376"/>
        </pc:sldMkLst>
      </pc:sldChg>
      <pc:sldChg chg="del">
        <pc:chgData name="Yatharth Gupta" userId="e2847f67e220f1e6" providerId="LiveId" clId="{BB268C3E-853A-40E1-8C73-E97A67D91A6E}" dt="2018-06-27T17:13:04.481" v="489" actId="2696"/>
        <pc:sldMkLst>
          <pc:docMk/>
          <pc:sldMk cId="3209309079" sldId="377"/>
        </pc:sldMkLst>
      </pc:sldChg>
      <pc:sldChg chg="del">
        <pc:chgData name="Yatharth Gupta" userId="e2847f67e220f1e6" providerId="LiveId" clId="{BB268C3E-853A-40E1-8C73-E97A67D91A6E}" dt="2018-06-27T17:13:05.800" v="519" actId="2696"/>
        <pc:sldMkLst>
          <pc:docMk/>
          <pc:sldMk cId="1538277169" sldId="378"/>
        </pc:sldMkLst>
      </pc:sldChg>
      <pc:sldChg chg="del">
        <pc:chgData name="Yatharth Gupta" userId="e2847f67e220f1e6" providerId="LiveId" clId="{BB268C3E-853A-40E1-8C73-E97A67D91A6E}" dt="2018-06-27T17:13:05.853" v="521" actId="2696"/>
        <pc:sldMkLst>
          <pc:docMk/>
          <pc:sldMk cId="762486754" sldId="379"/>
        </pc:sldMkLst>
      </pc:sldChg>
      <pc:sldChg chg="del">
        <pc:chgData name="Yatharth Gupta" userId="e2847f67e220f1e6" providerId="LiveId" clId="{BB268C3E-853A-40E1-8C73-E97A67D91A6E}" dt="2018-06-27T17:13:05.900" v="522" actId="2696"/>
        <pc:sldMkLst>
          <pc:docMk/>
          <pc:sldMk cId="913786820" sldId="380"/>
        </pc:sldMkLst>
      </pc:sldChg>
      <pc:sldChg chg="del">
        <pc:chgData name="Yatharth Gupta" userId="e2847f67e220f1e6" providerId="LiveId" clId="{BB268C3E-853A-40E1-8C73-E97A67D91A6E}" dt="2018-06-27T17:13:05.946" v="523" actId="2696"/>
        <pc:sldMkLst>
          <pc:docMk/>
          <pc:sldMk cId="983826369" sldId="381"/>
        </pc:sldMkLst>
      </pc:sldChg>
      <pc:sldChg chg="del">
        <pc:chgData name="Yatharth Gupta" userId="e2847f67e220f1e6" providerId="LiveId" clId="{BB268C3E-853A-40E1-8C73-E97A67D91A6E}" dt="2018-06-27T17:13:05.978" v="525" actId="2696"/>
        <pc:sldMkLst>
          <pc:docMk/>
          <pc:sldMk cId="3383706865" sldId="382"/>
        </pc:sldMkLst>
      </pc:sldChg>
      <pc:sldChg chg="del">
        <pc:chgData name="Yatharth Gupta" userId="e2847f67e220f1e6" providerId="LiveId" clId="{BB268C3E-853A-40E1-8C73-E97A67D91A6E}" dt="2018-06-27T17:13:06.368" v="539" actId="2696"/>
        <pc:sldMkLst>
          <pc:docMk/>
          <pc:sldMk cId="107878958" sldId="383"/>
        </pc:sldMkLst>
      </pc:sldChg>
      <pc:sldChg chg="del">
        <pc:chgData name="Yatharth Gupta" userId="e2847f67e220f1e6" providerId="LiveId" clId="{BB268C3E-853A-40E1-8C73-E97A67D91A6E}" dt="2018-06-27T17:13:03.888" v="481" actId="2696"/>
        <pc:sldMkLst>
          <pc:docMk/>
          <pc:sldMk cId="559765650" sldId="384"/>
        </pc:sldMkLst>
      </pc:sldChg>
      <pc:sldChg chg="del">
        <pc:chgData name="Yatharth Gupta" userId="e2847f67e220f1e6" providerId="LiveId" clId="{BB268C3E-853A-40E1-8C73-E97A67D91A6E}" dt="2018-06-27T17:13:03.856" v="480" actId="2696"/>
        <pc:sldMkLst>
          <pc:docMk/>
          <pc:sldMk cId="2832944196" sldId="393"/>
        </pc:sldMkLst>
      </pc:sldChg>
      <pc:sldChg chg="del">
        <pc:chgData name="Yatharth Gupta" userId="e2847f67e220f1e6" providerId="LiveId" clId="{BB268C3E-853A-40E1-8C73-E97A67D91A6E}" dt="2018-06-27T17:13:03.903" v="482" actId="2696"/>
        <pc:sldMkLst>
          <pc:docMk/>
          <pc:sldMk cId="3561023546" sldId="394"/>
        </pc:sldMkLst>
      </pc:sldChg>
      <pc:sldChg chg="del">
        <pc:chgData name="Yatharth Gupta" userId="e2847f67e220f1e6" providerId="LiveId" clId="{BB268C3E-853A-40E1-8C73-E97A67D91A6E}" dt="2018-06-27T17:13:05.993" v="526" actId="2696"/>
        <pc:sldMkLst>
          <pc:docMk/>
          <pc:sldMk cId="1925960671" sldId="395"/>
        </pc:sldMkLst>
      </pc:sldChg>
      <pc:sldChg chg="del">
        <pc:chgData name="Yatharth Gupta" userId="e2847f67e220f1e6" providerId="LiveId" clId="{BB268C3E-853A-40E1-8C73-E97A67D91A6E}" dt="2018-06-27T17:13:06.056" v="527" actId="2696"/>
        <pc:sldMkLst>
          <pc:docMk/>
          <pc:sldMk cId="2401974282" sldId="396"/>
        </pc:sldMkLst>
      </pc:sldChg>
      <pc:sldChg chg="del">
        <pc:chgData name="Yatharth Gupta" userId="e2847f67e220f1e6" providerId="LiveId" clId="{BB268C3E-853A-40E1-8C73-E97A67D91A6E}" dt="2018-06-27T17:13:06.150" v="528" actId="2696"/>
        <pc:sldMkLst>
          <pc:docMk/>
          <pc:sldMk cId="2451767792" sldId="397"/>
        </pc:sldMkLst>
      </pc:sldChg>
      <pc:sldChg chg="del">
        <pc:chgData name="Yatharth Gupta" userId="e2847f67e220f1e6" providerId="LiveId" clId="{BB268C3E-853A-40E1-8C73-E97A67D91A6E}" dt="2018-06-27T17:13:06.181" v="529" actId="2696"/>
        <pc:sldMkLst>
          <pc:docMk/>
          <pc:sldMk cId="773850193" sldId="398"/>
        </pc:sldMkLst>
      </pc:sldChg>
      <pc:sldChg chg="del">
        <pc:chgData name="Yatharth Gupta" userId="e2847f67e220f1e6" providerId="LiveId" clId="{BB268C3E-853A-40E1-8C73-E97A67D91A6E}" dt="2018-06-27T17:13:06.196" v="530" actId="2696"/>
        <pc:sldMkLst>
          <pc:docMk/>
          <pc:sldMk cId="2762740851" sldId="399"/>
        </pc:sldMkLst>
      </pc:sldChg>
      <pc:sldChg chg="del">
        <pc:chgData name="Yatharth Gupta" userId="e2847f67e220f1e6" providerId="LiveId" clId="{BB268C3E-853A-40E1-8C73-E97A67D91A6E}" dt="2018-06-27T17:13:06.212" v="531" actId="2696"/>
        <pc:sldMkLst>
          <pc:docMk/>
          <pc:sldMk cId="3386496656" sldId="400"/>
        </pc:sldMkLst>
      </pc:sldChg>
      <pc:sldChg chg="del">
        <pc:chgData name="Yatharth Gupta" userId="e2847f67e220f1e6" providerId="LiveId" clId="{BB268C3E-853A-40E1-8C73-E97A67D91A6E}" dt="2018-06-27T17:13:06.243" v="532" actId="2696"/>
        <pc:sldMkLst>
          <pc:docMk/>
          <pc:sldMk cId="3619311309" sldId="401"/>
        </pc:sldMkLst>
      </pc:sldChg>
      <pc:sldChg chg="del">
        <pc:chgData name="Yatharth Gupta" userId="e2847f67e220f1e6" providerId="LiveId" clId="{BB268C3E-853A-40E1-8C73-E97A67D91A6E}" dt="2018-06-27T17:13:06.259" v="533" actId="2696"/>
        <pc:sldMkLst>
          <pc:docMk/>
          <pc:sldMk cId="3669960466" sldId="402"/>
        </pc:sldMkLst>
      </pc:sldChg>
      <pc:sldChg chg="del">
        <pc:chgData name="Yatharth Gupta" userId="e2847f67e220f1e6" providerId="LiveId" clId="{BB268C3E-853A-40E1-8C73-E97A67D91A6E}" dt="2018-06-27T17:13:06.275" v="534" actId="2696"/>
        <pc:sldMkLst>
          <pc:docMk/>
          <pc:sldMk cId="3053715643" sldId="403"/>
        </pc:sldMkLst>
      </pc:sldChg>
      <pc:sldChg chg="del">
        <pc:chgData name="Yatharth Gupta" userId="e2847f67e220f1e6" providerId="LiveId" clId="{BB268C3E-853A-40E1-8C73-E97A67D91A6E}" dt="2018-06-27T17:13:06.306" v="535" actId="2696"/>
        <pc:sldMkLst>
          <pc:docMk/>
          <pc:sldMk cId="3370619549" sldId="404"/>
        </pc:sldMkLst>
      </pc:sldChg>
      <pc:sldChg chg="del">
        <pc:chgData name="Yatharth Gupta" userId="e2847f67e220f1e6" providerId="LiveId" clId="{BB268C3E-853A-40E1-8C73-E97A67D91A6E}" dt="2018-06-27T17:13:06.337" v="536" actId="2696"/>
        <pc:sldMkLst>
          <pc:docMk/>
          <pc:sldMk cId="38951899" sldId="405"/>
        </pc:sldMkLst>
      </pc:sldChg>
      <pc:sldChg chg="del">
        <pc:chgData name="Yatharth Gupta" userId="e2847f67e220f1e6" providerId="LiveId" clId="{BB268C3E-853A-40E1-8C73-E97A67D91A6E}" dt="2018-06-27T17:13:06.353" v="537" actId="2696"/>
        <pc:sldMkLst>
          <pc:docMk/>
          <pc:sldMk cId="2430611264" sldId="406"/>
        </pc:sldMkLst>
      </pc:sldChg>
      <pc:sldChg chg="del">
        <pc:chgData name="Yatharth Gupta" userId="e2847f67e220f1e6" providerId="LiveId" clId="{BB268C3E-853A-40E1-8C73-E97A67D91A6E}" dt="2018-06-27T17:13:06.525" v="541" actId="2696"/>
        <pc:sldMkLst>
          <pc:docMk/>
          <pc:sldMk cId="3552353719" sldId="407"/>
        </pc:sldMkLst>
      </pc:sldChg>
      <pc:sldChg chg="del">
        <pc:chgData name="Yatharth Gupta" userId="e2847f67e220f1e6" providerId="LiveId" clId="{BB268C3E-853A-40E1-8C73-E97A67D91A6E}" dt="2018-06-27T17:13:06.673" v="543" actId="2696"/>
        <pc:sldMkLst>
          <pc:docMk/>
          <pc:sldMk cId="363239418" sldId="408"/>
        </pc:sldMkLst>
      </pc:sldChg>
      <pc:sldChg chg="del">
        <pc:chgData name="Yatharth Gupta" userId="e2847f67e220f1e6" providerId="LiveId" clId="{BB268C3E-853A-40E1-8C73-E97A67D91A6E}" dt="2018-06-27T17:13:06.706" v="544" actId="2696"/>
        <pc:sldMkLst>
          <pc:docMk/>
          <pc:sldMk cId="2001603504" sldId="409"/>
        </pc:sldMkLst>
      </pc:sldChg>
      <pc:sldChg chg="del">
        <pc:chgData name="Yatharth Gupta" userId="e2847f67e220f1e6" providerId="LiveId" clId="{BB268C3E-853A-40E1-8C73-E97A67D91A6E}" dt="2018-06-27T17:13:06.938" v="545" actId="2696"/>
        <pc:sldMkLst>
          <pc:docMk/>
          <pc:sldMk cId="1169445528" sldId="410"/>
        </pc:sldMkLst>
      </pc:sldChg>
      <pc:sldChg chg="del">
        <pc:chgData name="Yatharth Gupta" userId="e2847f67e220f1e6" providerId="LiveId" clId="{BB268C3E-853A-40E1-8C73-E97A67D91A6E}" dt="2018-06-27T17:13:07.141" v="547" actId="2696"/>
        <pc:sldMkLst>
          <pc:docMk/>
          <pc:sldMk cId="2534845302" sldId="1076"/>
        </pc:sldMkLst>
      </pc:sldChg>
      <pc:sldChg chg="addSp delSp modSp add">
        <pc:chgData name="Yatharth Gupta" userId="e2847f67e220f1e6" providerId="LiveId" clId="{BB268C3E-853A-40E1-8C73-E97A67D91A6E}" dt="2018-06-27T16:09:17.752" v="18" actId="14100"/>
        <pc:sldMkLst>
          <pc:docMk/>
          <pc:sldMk cId="131735201" sldId="1077"/>
        </pc:sldMkLst>
        <pc:spChg chg="mod">
          <ac:chgData name="Yatharth Gupta" userId="e2847f67e220f1e6" providerId="LiveId" clId="{BB268C3E-853A-40E1-8C73-E97A67D91A6E}" dt="2018-06-27T16:08:50.317" v="13"/>
          <ac:spMkLst>
            <pc:docMk/>
            <pc:sldMk cId="131735201" sldId="1077"/>
            <ac:spMk id="2" creationId="{43759CA9-6506-43AC-81ED-B8675653578B}"/>
          </ac:spMkLst>
        </pc:spChg>
        <pc:spChg chg="add del">
          <ac:chgData name="Yatharth Gupta" userId="e2847f67e220f1e6" providerId="LiveId" clId="{BB268C3E-853A-40E1-8C73-E97A67D91A6E}" dt="2018-06-27T16:08:53.034" v="15"/>
          <ac:spMkLst>
            <pc:docMk/>
            <pc:sldMk cId="131735201" sldId="1077"/>
            <ac:spMk id="3" creationId="{4B5E3DA8-2755-4DC3-A552-5F9096E81801}"/>
          </ac:spMkLst>
        </pc:spChg>
        <pc:spChg chg="add mod">
          <ac:chgData name="Yatharth Gupta" userId="e2847f67e220f1e6" providerId="LiveId" clId="{BB268C3E-853A-40E1-8C73-E97A67D91A6E}" dt="2018-06-27T16:09:17.752" v="18" actId="14100"/>
          <ac:spMkLst>
            <pc:docMk/>
            <pc:sldMk cId="131735201" sldId="1077"/>
            <ac:spMk id="4" creationId="{5908B408-E0E9-4FA9-A4D0-BF493F3D5316}"/>
          </ac:spMkLst>
        </pc:spChg>
      </pc:sldChg>
      <pc:sldChg chg="addSp delSp modSp add">
        <pc:chgData name="Yatharth Gupta" userId="e2847f67e220f1e6" providerId="LiveId" clId="{BB268C3E-853A-40E1-8C73-E97A67D91A6E}" dt="2018-06-27T16:10:05.919" v="60" actId="20577"/>
        <pc:sldMkLst>
          <pc:docMk/>
          <pc:sldMk cId="127609134" sldId="1078"/>
        </pc:sldMkLst>
        <pc:spChg chg="del">
          <ac:chgData name="Yatharth Gupta" userId="e2847f67e220f1e6" providerId="LiveId" clId="{BB268C3E-853A-40E1-8C73-E97A67D91A6E}" dt="2018-06-27T16:09:53.646" v="20"/>
          <ac:spMkLst>
            <pc:docMk/>
            <pc:sldMk cId="127609134" sldId="1078"/>
            <ac:spMk id="2" creationId="{C34CF976-0AC6-4656-9C08-F670E4D4269C}"/>
          </ac:spMkLst>
        </pc:spChg>
        <pc:spChg chg="add mod">
          <ac:chgData name="Yatharth Gupta" userId="e2847f67e220f1e6" providerId="LiveId" clId="{BB268C3E-853A-40E1-8C73-E97A67D91A6E}" dt="2018-06-27T16:10:05.919" v="60" actId="20577"/>
          <ac:spMkLst>
            <pc:docMk/>
            <pc:sldMk cId="127609134" sldId="1078"/>
            <ac:spMk id="3" creationId="{81C08013-B2C2-4C89-B9F6-5D4DB6F679C8}"/>
          </ac:spMkLst>
        </pc:spChg>
      </pc:sldChg>
      <pc:sldChg chg="addSp delSp modSp add">
        <pc:chgData name="Yatharth Gupta" userId="e2847f67e220f1e6" providerId="LiveId" clId="{BB268C3E-853A-40E1-8C73-E97A67D91A6E}" dt="2018-06-27T16:13:30.606" v="192" actId="478"/>
        <pc:sldMkLst>
          <pc:docMk/>
          <pc:sldMk cId="2971340734" sldId="1079"/>
        </pc:sldMkLst>
        <pc:spChg chg="del">
          <ac:chgData name="Yatharth Gupta" userId="e2847f67e220f1e6" providerId="LiveId" clId="{BB268C3E-853A-40E1-8C73-E97A67D91A6E}" dt="2018-06-27T16:10:39.572" v="62"/>
          <ac:spMkLst>
            <pc:docMk/>
            <pc:sldMk cId="2971340734" sldId="1079"/>
            <ac:spMk id="2" creationId="{73F85A43-1939-46D9-806F-FDDB78E8333F}"/>
          </ac:spMkLst>
        </pc:spChg>
        <pc:spChg chg="add mod">
          <ac:chgData name="Yatharth Gupta" userId="e2847f67e220f1e6" providerId="LiveId" clId="{BB268C3E-853A-40E1-8C73-E97A67D91A6E}" dt="2018-06-27T16:10:59.605" v="95" actId="20577"/>
          <ac:spMkLst>
            <pc:docMk/>
            <pc:sldMk cId="2971340734" sldId="1079"/>
            <ac:spMk id="3" creationId="{D6B35E09-310B-4DC1-AAC5-856153457EA2}"/>
          </ac:spMkLst>
        </pc:spChg>
        <pc:spChg chg="add mod">
          <ac:chgData name="Yatharth Gupta" userId="e2847f67e220f1e6" providerId="LiveId" clId="{BB268C3E-853A-40E1-8C73-E97A67D91A6E}" dt="2018-06-27T16:11:23.764" v="172" actId="20577"/>
          <ac:spMkLst>
            <pc:docMk/>
            <pc:sldMk cId="2971340734" sldId="1079"/>
            <ac:spMk id="4" creationId="{7899D21C-C236-4C98-A72B-91A18060909B}"/>
          </ac:spMkLst>
        </pc:spChg>
        <pc:spChg chg="add del">
          <ac:chgData name="Yatharth Gupta" userId="e2847f67e220f1e6" providerId="LiveId" clId="{BB268C3E-853A-40E1-8C73-E97A67D91A6E}" dt="2018-06-27T16:11:35.999" v="174"/>
          <ac:spMkLst>
            <pc:docMk/>
            <pc:sldMk cId="2971340734" sldId="1079"/>
            <ac:spMk id="5" creationId="{46BD4B99-5695-4FEA-8EBE-EC5C820FE8DC}"/>
          </ac:spMkLst>
        </pc:spChg>
        <pc:spChg chg="add del">
          <ac:chgData name="Yatharth Gupta" userId="e2847f67e220f1e6" providerId="LiveId" clId="{BB268C3E-853A-40E1-8C73-E97A67D91A6E}" dt="2018-06-27T16:11:35.999" v="174"/>
          <ac:spMkLst>
            <pc:docMk/>
            <pc:sldMk cId="2971340734" sldId="1079"/>
            <ac:spMk id="6" creationId="{2C687011-2403-49B5-8A1E-145A1FBE166C}"/>
          </ac:spMkLst>
        </pc:spChg>
        <pc:spChg chg="add del">
          <ac:chgData name="Yatharth Gupta" userId="e2847f67e220f1e6" providerId="LiveId" clId="{BB268C3E-853A-40E1-8C73-E97A67D91A6E}" dt="2018-06-27T16:11:35.999" v="174"/>
          <ac:spMkLst>
            <pc:docMk/>
            <pc:sldMk cId="2971340734" sldId="1079"/>
            <ac:spMk id="7" creationId="{FA45EB20-7E2F-4F2C-AAF2-87136E078C50}"/>
          </ac:spMkLst>
        </pc:spChg>
        <pc:spChg chg="add del">
          <ac:chgData name="Yatharth Gupta" userId="e2847f67e220f1e6" providerId="LiveId" clId="{BB268C3E-853A-40E1-8C73-E97A67D91A6E}" dt="2018-06-27T16:11:35.999" v="174"/>
          <ac:spMkLst>
            <pc:docMk/>
            <pc:sldMk cId="2971340734" sldId="1079"/>
            <ac:spMk id="8" creationId="{7582AF95-BC34-4C70-A3A6-E5B3BF74477D}"/>
          </ac:spMkLst>
        </pc:spChg>
        <pc:spChg chg="add del">
          <ac:chgData name="Yatharth Gupta" userId="e2847f67e220f1e6" providerId="LiveId" clId="{BB268C3E-853A-40E1-8C73-E97A67D91A6E}" dt="2018-06-27T16:11:35.999" v="174"/>
          <ac:spMkLst>
            <pc:docMk/>
            <pc:sldMk cId="2971340734" sldId="1079"/>
            <ac:spMk id="9" creationId="{2ECF8B59-195A-4480-94F3-69E6C5B82044}"/>
          </ac:spMkLst>
        </pc:spChg>
        <pc:spChg chg="add del">
          <ac:chgData name="Yatharth Gupta" userId="e2847f67e220f1e6" providerId="LiveId" clId="{BB268C3E-853A-40E1-8C73-E97A67D91A6E}" dt="2018-06-27T16:11:35.999" v="174"/>
          <ac:spMkLst>
            <pc:docMk/>
            <pc:sldMk cId="2971340734" sldId="1079"/>
            <ac:spMk id="10" creationId="{6292658B-03C8-4F45-A5C5-3AF7FADE8125}"/>
          </ac:spMkLst>
        </pc:spChg>
        <pc:spChg chg="add del">
          <ac:chgData name="Yatharth Gupta" userId="e2847f67e220f1e6" providerId="LiveId" clId="{BB268C3E-853A-40E1-8C73-E97A67D91A6E}" dt="2018-06-27T16:11:35.999" v="174"/>
          <ac:spMkLst>
            <pc:docMk/>
            <pc:sldMk cId="2971340734" sldId="1079"/>
            <ac:spMk id="11" creationId="{0739EA55-610A-465C-ADA8-5115CAAE44B0}"/>
          </ac:spMkLst>
        </pc:spChg>
        <pc:spChg chg="add del">
          <ac:chgData name="Yatharth Gupta" userId="e2847f67e220f1e6" providerId="LiveId" clId="{BB268C3E-853A-40E1-8C73-E97A67D91A6E}" dt="2018-06-27T16:11:35.999" v="174"/>
          <ac:spMkLst>
            <pc:docMk/>
            <pc:sldMk cId="2971340734" sldId="1079"/>
            <ac:spMk id="13" creationId="{1EA59020-728C-460A-BC86-3511AE17268B}"/>
          </ac:spMkLst>
        </pc:spChg>
        <pc:spChg chg="add del mod">
          <ac:chgData name="Yatharth Gupta" userId="e2847f67e220f1e6" providerId="LiveId" clId="{BB268C3E-853A-40E1-8C73-E97A67D91A6E}" dt="2018-06-27T16:12:13.366" v="181" actId="478"/>
          <ac:spMkLst>
            <pc:docMk/>
            <pc:sldMk cId="2971340734" sldId="1079"/>
            <ac:spMk id="18" creationId="{BF790E47-A0A6-4DED-8E77-B47701A9A37D}"/>
          </ac:spMkLst>
        </pc:spChg>
        <pc:spChg chg="add del mod">
          <ac:chgData name="Yatharth Gupta" userId="e2847f67e220f1e6" providerId="LiveId" clId="{BB268C3E-853A-40E1-8C73-E97A67D91A6E}" dt="2018-06-27T16:12:19.201" v="182" actId="478"/>
          <ac:spMkLst>
            <pc:docMk/>
            <pc:sldMk cId="2971340734" sldId="1079"/>
            <ac:spMk id="19" creationId="{2F080DF2-2835-48D9-8385-FA263F7DB09C}"/>
          </ac:spMkLst>
        </pc:spChg>
        <pc:spChg chg="add del mod">
          <ac:chgData name="Yatharth Gupta" userId="e2847f67e220f1e6" providerId="LiveId" clId="{BB268C3E-853A-40E1-8C73-E97A67D91A6E}" dt="2018-06-27T16:12:19.201" v="182" actId="478"/>
          <ac:spMkLst>
            <pc:docMk/>
            <pc:sldMk cId="2971340734" sldId="1079"/>
            <ac:spMk id="20" creationId="{5C26A5FE-FBBD-4F3C-8DCF-34BB8F6F9C44}"/>
          </ac:spMkLst>
        </pc:spChg>
        <pc:spChg chg="add del mod">
          <ac:chgData name="Yatharth Gupta" userId="e2847f67e220f1e6" providerId="LiveId" clId="{BB268C3E-853A-40E1-8C73-E97A67D91A6E}" dt="2018-06-27T16:12:19.201" v="182" actId="478"/>
          <ac:spMkLst>
            <pc:docMk/>
            <pc:sldMk cId="2971340734" sldId="1079"/>
            <ac:spMk id="21" creationId="{D5624C11-C21D-4387-A2B1-0526E29FCF16}"/>
          </ac:spMkLst>
        </pc:spChg>
        <pc:spChg chg="add del mod">
          <ac:chgData name="Yatharth Gupta" userId="e2847f67e220f1e6" providerId="LiveId" clId="{BB268C3E-853A-40E1-8C73-E97A67D91A6E}" dt="2018-06-27T16:12:19.201" v="182" actId="478"/>
          <ac:spMkLst>
            <pc:docMk/>
            <pc:sldMk cId="2971340734" sldId="1079"/>
            <ac:spMk id="22" creationId="{FF63D44E-42EB-487E-B1F0-F6DDDA0BB40F}"/>
          </ac:spMkLst>
        </pc:spChg>
        <pc:spChg chg="add del mod">
          <ac:chgData name="Yatharth Gupta" userId="e2847f67e220f1e6" providerId="LiveId" clId="{BB268C3E-853A-40E1-8C73-E97A67D91A6E}" dt="2018-06-27T16:12:19.201" v="182" actId="478"/>
          <ac:spMkLst>
            <pc:docMk/>
            <pc:sldMk cId="2971340734" sldId="1079"/>
            <ac:spMk id="23" creationId="{3D7BFAED-486B-4129-BEF9-FEEC77D97831}"/>
          </ac:spMkLst>
        </pc:spChg>
        <pc:spChg chg="add del mod">
          <ac:chgData name="Yatharth Gupta" userId="e2847f67e220f1e6" providerId="LiveId" clId="{BB268C3E-853A-40E1-8C73-E97A67D91A6E}" dt="2018-06-27T16:12:19.201" v="182" actId="478"/>
          <ac:spMkLst>
            <pc:docMk/>
            <pc:sldMk cId="2971340734" sldId="1079"/>
            <ac:spMk id="24" creationId="{680AEDB0-986D-4979-8C0B-3657D69B8438}"/>
          </ac:spMkLst>
        </pc:spChg>
        <pc:spChg chg="add del mod">
          <ac:chgData name="Yatharth Gupta" userId="e2847f67e220f1e6" providerId="LiveId" clId="{BB268C3E-853A-40E1-8C73-E97A67D91A6E}" dt="2018-06-27T16:12:19.201" v="182" actId="478"/>
          <ac:spMkLst>
            <pc:docMk/>
            <pc:sldMk cId="2971340734" sldId="1079"/>
            <ac:spMk id="26" creationId="{3EB576AF-A63F-4134-9A21-59960144622F}"/>
          </ac:spMkLst>
        </pc:spChg>
        <pc:spChg chg="add mod">
          <ac:chgData name="Yatharth Gupta" userId="e2847f67e220f1e6" providerId="LiveId" clId="{BB268C3E-853A-40E1-8C73-E97A67D91A6E}" dt="2018-06-27T16:13:14.252" v="190" actId="1076"/>
          <ac:spMkLst>
            <pc:docMk/>
            <pc:sldMk cId="2971340734" sldId="1079"/>
            <ac:spMk id="31" creationId="{648DF0F6-7E26-4341-BB28-7230E0675A8E}"/>
          </ac:spMkLst>
        </pc:spChg>
        <pc:spChg chg="add mod">
          <ac:chgData name="Yatharth Gupta" userId="e2847f67e220f1e6" providerId="LiveId" clId="{BB268C3E-853A-40E1-8C73-E97A67D91A6E}" dt="2018-06-27T16:13:14.252" v="190" actId="1076"/>
          <ac:spMkLst>
            <pc:docMk/>
            <pc:sldMk cId="2971340734" sldId="1079"/>
            <ac:spMk id="32" creationId="{5D4A72F0-5666-4C1F-9DAC-6E25F94BC008}"/>
          </ac:spMkLst>
        </pc:spChg>
        <pc:spChg chg="add mod">
          <ac:chgData name="Yatharth Gupta" userId="e2847f67e220f1e6" providerId="LiveId" clId="{BB268C3E-853A-40E1-8C73-E97A67D91A6E}" dt="2018-06-27T16:13:14.252" v="190" actId="1076"/>
          <ac:spMkLst>
            <pc:docMk/>
            <pc:sldMk cId="2971340734" sldId="1079"/>
            <ac:spMk id="33" creationId="{D16C142B-73AA-4732-9152-B1DC91B76D1F}"/>
          </ac:spMkLst>
        </pc:spChg>
        <pc:spChg chg="add mod">
          <ac:chgData name="Yatharth Gupta" userId="e2847f67e220f1e6" providerId="LiveId" clId="{BB268C3E-853A-40E1-8C73-E97A67D91A6E}" dt="2018-06-27T16:13:14.252" v="190" actId="1076"/>
          <ac:spMkLst>
            <pc:docMk/>
            <pc:sldMk cId="2971340734" sldId="1079"/>
            <ac:spMk id="34" creationId="{660739DB-929B-4028-B163-74386478B217}"/>
          </ac:spMkLst>
        </pc:spChg>
        <pc:spChg chg="add mod">
          <ac:chgData name="Yatharth Gupta" userId="e2847f67e220f1e6" providerId="LiveId" clId="{BB268C3E-853A-40E1-8C73-E97A67D91A6E}" dt="2018-06-27T16:13:14.252" v="190" actId="1076"/>
          <ac:spMkLst>
            <pc:docMk/>
            <pc:sldMk cId="2971340734" sldId="1079"/>
            <ac:spMk id="35" creationId="{DAC64B47-2CA4-4F9B-8F86-1C82B34BF707}"/>
          </ac:spMkLst>
        </pc:spChg>
        <pc:spChg chg="add mod">
          <ac:chgData name="Yatharth Gupta" userId="e2847f67e220f1e6" providerId="LiveId" clId="{BB268C3E-853A-40E1-8C73-E97A67D91A6E}" dt="2018-06-27T16:13:14.252" v="190" actId="1076"/>
          <ac:spMkLst>
            <pc:docMk/>
            <pc:sldMk cId="2971340734" sldId="1079"/>
            <ac:spMk id="36" creationId="{2286A20F-FEAF-4637-AFC8-4A68F023CDEE}"/>
          </ac:spMkLst>
        </pc:spChg>
        <pc:spChg chg="add mod">
          <ac:chgData name="Yatharth Gupta" userId="e2847f67e220f1e6" providerId="LiveId" clId="{BB268C3E-853A-40E1-8C73-E97A67D91A6E}" dt="2018-06-27T16:13:14.252" v="190" actId="1076"/>
          <ac:spMkLst>
            <pc:docMk/>
            <pc:sldMk cId="2971340734" sldId="1079"/>
            <ac:spMk id="37" creationId="{8289D8D9-A5F1-48A9-8A68-5F7EA9E7D3BA}"/>
          </ac:spMkLst>
        </pc:spChg>
        <pc:spChg chg="add mod">
          <ac:chgData name="Yatharth Gupta" userId="e2847f67e220f1e6" providerId="LiveId" clId="{BB268C3E-853A-40E1-8C73-E97A67D91A6E}" dt="2018-06-27T16:13:14.252" v="190" actId="1076"/>
          <ac:spMkLst>
            <pc:docMk/>
            <pc:sldMk cId="2971340734" sldId="1079"/>
            <ac:spMk id="39" creationId="{EACF1ACD-365D-43A7-AB43-1B787EB49A97}"/>
          </ac:spMkLst>
        </pc:spChg>
        <pc:picChg chg="add del">
          <ac:chgData name="Yatharth Gupta" userId="e2847f67e220f1e6" providerId="LiveId" clId="{BB268C3E-853A-40E1-8C73-E97A67D91A6E}" dt="2018-06-27T16:11:35.999" v="174"/>
          <ac:picMkLst>
            <pc:docMk/>
            <pc:sldMk cId="2971340734" sldId="1079"/>
            <ac:picMk id="12" creationId="{654DA616-3DAE-43A4-95E7-088D0AA940CA}"/>
          </ac:picMkLst>
        </pc:picChg>
        <pc:picChg chg="add del">
          <ac:chgData name="Yatharth Gupta" userId="e2847f67e220f1e6" providerId="LiveId" clId="{BB268C3E-853A-40E1-8C73-E97A67D91A6E}" dt="2018-06-27T16:11:35.999" v="174"/>
          <ac:picMkLst>
            <pc:docMk/>
            <pc:sldMk cId="2971340734" sldId="1079"/>
            <ac:picMk id="14" creationId="{996932F9-7B2A-47AA-832E-B2553F9B82D4}"/>
          </ac:picMkLst>
        </pc:picChg>
        <pc:picChg chg="add del">
          <ac:chgData name="Yatharth Gupta" userId="e2847f67e220f1e6" providerId="LiveId" clId="{BB268C3E-853A-40E1-8C73-E97A67D91A6E}" dt="2018-06-27T16:11:35.999" v="174"/>
          <ac:picMkLst>
            <pc:docMk/>
            <pc:sldMk cId="2971340734" sldId="1079"/>
            <ac:picMk id="15" creationId="{275B4C9B-7D68-4270-AC16-96DF14A6D7C0}"/>
          </ac:picMkLst>
        </pc:picChg>
        <pc:picChg chg="add del">
          <ac:chgData name="Yatharth Gupta" userId="e2847f67e220f1e6" providerId="LiveId" clId="{BB268C3E-853A-40E1-8C73-E97A67D91A6E}" dt="2018-06-27T16:11:35.999" v="174"/>
          <ac:picMkLst>
            <pc:docMk/>
            <pc:sldMk cId="2971340734" sldId="1079"/>
            <ac:picMk id="16" creationId="{2EA18571-A60C-4836-9AC1-16E70EADA9DD}"/>
          </ac:picMkLst>
        </pc:picChg>
        <pc:picChg chg="add del">
          <ac:chgData name="Yatharth Gupta" userId="e2847f67e220f1e6" providerId="LiveId" clId="{BB268C3E-853A-40E1-8C73-E97A67D91A6E}" dt="2018-06-27T16:11:35.999" v="174"/>
          <ac:picMkLst>
            <pc:docMk/>
            <pc:sldMk cId="2971340734" sldId="1079"/>
            <ac:picMk id="17" creationId="{E487456D-658E-42C5-93E6-ABF04D4C2C46}"/>
          </ac:picMkLst>
        </pc:picChg>
        <pc:picChg chg="add del mod">
          <ac:chgData name="Yatharth Gupta" userId="e2847f67e220f1e6" providerId="LiveId" clId="{BB268C3E-853A-40E1-8C73-E97A67D91A6E}" dt="2018-06-27T16:12:19.201" v="182" actId="478"/>
          <ac:picMkLst>
            <pc:docMk/>
            <pc:sldMk cId="2971340734" sldId="1079"/>
            <ac:picMk id="25" creationId="{68622925-960F-403D-A33D-5ECEE3F0733E}"/>
          </ac:picMkLst>
        </pc:picChg>
        <pc:picChg chg="add del mod">
          <ac:chgData name="Yatharth Gupta" userId="e2847f67e220f1e6" providerId="LiveId" clId="{BB268C3E-853A-40E1-8C73-E97A67D91A6E}" dt="2018-06-27T16:12:19.201" v="182" actId="478"/>
          <ac:picMkLst>
            <pc:docMk/>
            <pc:sldMk cId="2971340734" sldId="1079"/>
            <ac:picMk id="27" creationId="{5A2D6008-7CA7-46D0-BE3F-E48428B1CD20}"/>
          </ac:picMkLst>
        </pc:picChg>
        <pc:picChg chg="add del mod">
          <ac:chgData name="Yatharth Gupta" userId="e2847f67e220f1e6" providerId="LiveId" clId="{BB268C3E-853A-40E1-8C73-E97A67D91A6E}" dt="2018-06-27T16:12:19.201" v="182" actId="478"/>
          <ac:picMkLst>
            <pc:docMk/>
            <pc:sldMk cId="2971340734" sldId="1079"/>
            <ac:picMk id="28" creationId="{080DCA7B-924F-49A1-99FF-3FEFEC498119}"/>
          </ac:picMkLst>
        </pc:picChg>
        <pc:picChg chg="add del mod">
          <ac:chgData name="Yatharth Gupta" userId="e2847f67e220f1e6" providerId="LiveId" clId="{BB268C3E-853A-40E1-8C73-E97A67D91A6E}" dt="2018-06-27T16:12:19.201" v="182" actId="478"/>
          <ac:picMkLst>
            <pc:docMk/>
            <pc:sldMk cId="2971340734" sldId="1079"/>
            <ac:picMk id="29" creationId="{B9F30D10-D199-4BB7-B00C-5E138B45B78A}"/>
          </ac:picMkLst>
        </pc:picChg>
        <pc:picChg chg="add del mod">
          <ac:chgData name="Yatharth Gupta" userId="e2847f67e220f1e6" providerId="LiveId" clId="{BB268C3E-853A-40E1-8C73-E97A67D91A6E}" dt="2018-06-27T16:12:19.201" v="182" actId="478"/>
          <ac:picMkLst>
            <pc:docMk/>
            <pc:sldMk cId="2971340734" sldId="1079"/>
            <ac:picMk id="30" creationId="{B0706933-6EC8-4226-A1D8-1EF94FB5FCE3}"/>
          </ac:picMkLst>
        </pc:picChg>
        <pc:picChg chg="add mod">
          <ac:chgData name="Yatharth Gupta" userId="e2847f67e220f1e6" providerId="LiveId" clId="{BB268C3E-853A-40E1-8C73-E97A67D91A6E}" dt="2018-06-27T16:13:14.252" v="190" actId="1076"/>
          <ac:picMkLst>
            <pc:docMk/>
            <pc:sldMk cId="2971340734" sldId="1079"/>
            <ac:picMk id="38" creationId="{E156FC1C-1C76-4FA7-ABD5-E37632CC028A}"/>
          </ac:picMkLst>
        </pc:picChg>
        <pc:picChg chg="add mod">
          <ac:chgData name="Yatharth Gupta" userId="e2847f67e220f1e6" providerId="LiveId" clId="{BB268C3E-853A-40E1-8C73-E97A67D91A6E}" dt="2018-06-27T16:13:14.252" v="190" actId="1076"/>
          <ac:picMkLst>
            <pc:docMk/>
            <pc:sldMk cId="2971340734" sldId="1079"/>
            <ac:picMk id="40" creationId="{EDB115E1-E161-42B4-A7B5-339A91CEA9F4}"/>
          </ac:picMkLst>
        </pc:picChg>
        <pc:picChg chg="add mod">
          <ac:chgData name="Yatharth Gupta" userId="e2847f67e220f1e6" providerId="LiveId" clId="{BB268C3E-853A-40E1-8C73-E97A67D91A6E}" dt="2018-06-27T16:13:14.252" v="190" actId="1076"/>
          <ac:picMkLst>
            <pc:docMk/>
            <pc:sldMk cId="2971340734" sldId="1079"/>
            <ac:picMk id="41" creationId="{CC690C99-5CBB-44EA-875C-3085E0A7BCBF}"/>
          </ac:picMkLst>
        </pc:picChg>
        <pc:picChg chg="add mod">
          <ac:chgData name="Yatharth Gupta" userId="e2847f67e220f1e6" providerId="LiveId" clId="{BB268C3E-853A-40E1-8C73-E97A67D91A6E}" dt="2018-06-27T16:13:14.252" v="190" actId="1076"/>
          <ac:picMkLst>
            <pc:docMk/>
            <pc:sldMk cId="2971340734" sldId="1079"/>
            <ac:picMk id="42" creationId="{8F69E2F4-F6C0-4516-9D8E-FABB2C9C8D47}"/>
          </ac:picMkLst>
        </pc:picChg>
        <pc:picChg chg="add del mod">
          <ac:chgData name="Yatharth Gupta" userId="e2847f67e220f1e6" providerId="LiveId" clId="{BB268C3E-853A-40E1-8C73-E97A67D91A6E}" dt="2018-06-27T16:13:14.252" v="190" actId="1076"/>
          <ac:picMkLst>
            <pc:docMk/>
            <pc:sldMk cId="2971340734" sldId="1079"/>
            <ac:picMk id="43" creationId="{5897CE35-B8F7-41C3-9EE8-0CA895D3623F}"/>
          </ac:picMkLst>
        </pc:picChg>
        <pc:picChg chg="add del">
          <ac:chgData name="Yatharth Gupta" userId="e2847f67e220f1e6" providerId="LiveId" clId="{BB268C3E-853A-40E1-8C73-E97A67D91A6E}" dt="2018-06-27T16:13:30.606" v="192" actId="478"/>
          <ac:picMkLst>
            <pc:docMk/>
            <pc:sldMk cId="2971340734" sldId="1079"/>
            <ac:picMk id="44" creationId="{F001AD7E-CA52-47A9-8B8B-50815A66F2D0}"/>
          </ac:picMkLst>
        </pc:picChg>
      </pc:sldChg>
      <pc:sldMasterChg chg="delSldLayout">
        <pc:chgData name="Yatharth Gupta" userId="e2847f67e220f1e6" providerId="LiveId" clId="{BB268C3E-853A-40E1-8C73-E97A67D91A6E}" dt="2018-06-27T17:13:03.063" v="474" actId="2696"/>
        <pc:sldMasterMkLst>
          <pc:docMk/>
          <pc:sldMasterMk cId="322133906" sldId="2147483880"/>
        </pc:sldMasterMkLst>
        <pc:sldLayoutChg chg="del">
          <pc:chgData name="Yatharth Gupta" userId="e2847f67e220f1e6" providerId="LiveId" clId="{BB268C3E-853A-40E1-8C73-E97A67D91A6E}" dt="2018-06-27T17:13:03.063" v="474" actId="2696"/>
          <pc:sldLayoutMkLst>
            <pc:docMk/>
            <pc:sldMasterMk cId="322133906" sldId="2147483880"/>
            <pc:sldLayoutMk cId="652515445" sldId="2147484031"/>
          </pc:sldLayoutMkLst>
        </pc:sldLayoutChg>
      </pc:sldMasterChg>
      <pc:sldMasterChg chg="delSldLayout">
        <pc:chgData name="Yatharth Gupta" userId="e2847f67e220f1e6" providerId="LiveId" clId="{BB268C3E-853A-40E1-8C73-E97A67D91A6E}" dt="2018-06-27T17:13:07.141" v="548" actId="2696"/>
        <pc:sldMasterMkLst>
          <pc:docMk/>
          <pc:sldMasterMk cId="1257790413" sldId="2147483957"/>
        </pc:sldMasterMkLst>
        <pc:sldLayoutChg chg="del">
          <pc:chgData name="Yatharth Gupta" userId="e2847f67e220f1e6" providerId="LiveId" clId="{BB268C3E-853A-40E1-8C73-E97A67D91A6E}" dt="2018-06-27T17:13:05.946" v="524" actId="2696"/>
          <pc:sldLayoutMkLst>
            <pc:docMk/>
            <pc:sldMasterMk cId="1257790413" sldId="2147483957"/>
            <pc:sldLayoutMk cId="3864053094" sldId="2147483960"/>
          </pc:sldLayoutMkLst>
        </pc:sldLayoutChg>
        <pc:sldLayoutChg chg="del">
          <pc:chgData name="Yatharth Gupta" userId="e2847f67e220f1e6" providerId="LiveId" clId="{BB268C3E-853A-40E1-8C73-E97A67D91A6E}" dt="2018-06-27T17:13:05.802" v="520" actId="2696"/>
          <pc:sldLayoutMkLst>
            <pc:docMk/>
            <pc:sldMasterMk cId="1257790413" sldId="2147483957"/>
            <pc:sldLayoutMk cId="1271136941" sldId="2147483981"/>
          </pc:sldLayoutMkLst>
        </pc:sldLayoutChg>
        <pc:sldLayoutChg chg="del">
          <pc:chgData name="Yatharth Gupta" userId="e2847f67e220f1e6" providerId="LiveId" clId="{BB268C3E-853A-40E1-8C73-E97A67D91A6E}" dt="2018-06-27T17:13:06.368" v="540" actId="2696"/>
          <pc:sldLayoutMkLst>
            <pc:docMk/>
            <pc:sldMasterMk cId="1257790413" sldId="2147483957"/>
            <pc:sldLayoutMk cId="149593756" sldId="2147484006"/>
          </pc:sldLayoutMkLst>
        </pc:sldLayoutChg>
        <pc:sldLayoutChg chg="del">
          <pc:chgData name="Yatharth Gupta" userId="e2847f67e220f1e6" providerId="LiveId" clId="{BB268C3E-853A-40E1-8C73-E97A67D91A6E}" dt="2018-06-27T17:13:06.525" v="542" actId="2696"/>
          <pc:sldLayoutMkLst>
            <pc:docMk/>
            <pc:sldMasterMk cId="1257790413" sldId="2147483957"/>
            <pc:sldLayoutMk cId="3002016287" sldId="2147484007"/>
          </pc:sldLayoutMkLst>
        </pc:sldLayoutChg>
        <pc:sldLayoutChg chg="del">
          <pc:chgData name="Yatharth Gupta" userId="e2847f67e220f1e6" providerId="LiveId" clId="{BB268C3E-853A-40E1-8C73-E97A67D91A6E}" dt="2018-06-27T17:13:06.353" v="538" actId="2696"/>
          <pc:sldLayoutMkLst>
            <pc:docMk/>
            <pc:sldMasterMk cId="1257790413" sldId="2147483957"/>
            <pc:sldLayoutMk cId="4098455074" sldId="2147484008"/>
          </pc:sldLayoutMkLst>
        </pc:sldLayoutChg>
        <pc:sldLayoutChg chg="del">
          <pc:chgData name="Yatharth Gupta" userId="e2847f67e220f1e6" providerId="LiveId" clId="{BB268C3E-853A-40E1-8C73-E97A67D91A6E}" dt="2018-06-27T17:13:06.938" v="546" actId="2696"/>
          <pc:sldLayoutMkLst>
            <pc:docMk/>
            <pc:sldMasterMk cId="1257790413" sldId="2147483957"/>
            <pc:sldLayoutMk cId="2475309351" sldId="2147484032"/>
          </pc:sldLayoutMkLst>
        </pc:sldLayoutChg>
        <pc:sldLayoutChg chg="del">
          <pc:chgData name="Yatharth Gupta" userId="e2847f67e220f1e6" providerId="LiveId" clId="{BB268C3E-853A-40E1-8C73-E97A67D91A6E}" dt="2018-06-27T17:13:07.141" v="548" actId="2696"/>
          <pc:sldLayoutMkLst>
            <pc:docMk/>
            <pc:sldMasterMk cId="1257790413" sldId="2147483957"/>
            <pc:sldLayoutMk cId="1283105034" sldId="2147484033"/>
          </pc:sldLayoutMkLst>
        </pc:sldLayoutChg>
      </pc:sldMasterChg>
      <pc:sldMasterChg chg="delSldLayout">
        <pc:chgData name="Yatharth Gupta" userId="e2847f67e220f1e6" providerId="LiveId" clId="{BB268C3E-853A-40E1-8C73-E97A67D91A6E}" dt="2018-06-27T17:13:04.809" v="495" actId="2696"/>
        <pc:sldMasterMkLst>
          <pc:docMk/>
          <pc:sldMasterMk cId="192346749" sldId="2147483964"/>
        </pc:sldMasterMkLst>
        <pc:sldLayoutChg chg="del">
          <pc:chgData name="Yatharth Gupta" userId="e2847f67e220f1e6" providerId="LiveId" clId="{BB268C3E-853A-40E1-8C73-E97A67D91A6E}" dt="2018-06-27T17:13:04.809" v="495" actId="2696"/>
          <pc:sldLayoutMkLst>
            <pc:docMk/>
            <pc:sldMasterMk cId="192346749" sldId="2147483964"/>
            <pc:sldLayoutMk cId="3842350742" sldId="214748397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nikuma\Desktop\DesignDocuments\Siphon%20EPS%202016%20-%20updat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nikuma\Desktop\DesignDocuments\Siphon%20EPS%202016%20-%20updated.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iphon Data Volume (Ingress and Egres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719362627151601"/>
          <c:y val="0.15136288998358"/>
          <c:w val="0.87280637372848402"/>
          <c:h val="0.58244698442556997"/>
        </c:manualLayout>
      </c:layout>
      <c:lineChart>
        <c:grouping val="standard"/>
        <c:varyColors val="0"/>
        <c:ser>
          <c:idx val="0"/>
          <c:order val="0"/>
          <c:tx>
            <c:strRef>
              <c:f>Sheet1!$A$9</c:f>
              <c:strCache>
                <c:ptCount val="1"/>
                <c:pt idx="0">
                  <c:v>Volume published (GBp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elete val="1"/>
          </c:dLbls>
          <c:cat>
            <c:numRef>
              <c:f>Sheet1!$B$8:$Y$8</c:f>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numCache>
            </c:numRef>
          </c:cat>
          <c:val>
            <c:numRef>
              <c:f>Sheet1!$B$9:$Y$9</c:f>
              <c:numCache>
                <c:formatCode>General</c:formatCode>
                <c:ptCount val="24"/>
                <c:pt idx="0">
                  <c:v>8.4959999999999994E-2</c:v>
                </c:pt>
                <c:pt idx="1">
                  <c:v>0.1062</c:v>
                </c:pt>
                <c:pt idx="2">
                  <c:v>0.25488</c:v>
                </c:pt>
                <c:pt idx="3">
                  <c:v>1.0620000000000001</c:v>
                </c:pt>
                <c:pt idx="4">
                  <c:v>1.2744</c:v>
                </c:pt>
                <c:pt idx="5">
                  <c:v>1.4867999999999999</c:v>
                </c:pt>
                <c:pt idx="6" formatCode="0.000">
                  <c:v>1.593</c:v>
                </c:pt>
                <c:pt idx="7" formatCode="0.000">
                  <c:v>1.626984</c:v>
                </c:pt>
                <c:pt idx="8" formatCode="0.000">
                  <c:v>1.9392119999999999</c:v>
                </c:pt>
                <c:pt idx="9" formatCode="0.000">
                  <c:v>1.9731959999999999</c:v>
                </c:pt>
                <c:pt idx="10" formatCode="0.000">
                  <c:v>2.0730240000000002</c:v>
                </c:pt>
                <c:pt idx="11" formatCode="0.000">
                  <c:v>2.13462</c:v>
                </c:pt>
                <c:pt idx="12" formatCode="0.000">
                  <c:v>2.3131379519999999</c:v>
                </c:pt>
                <c:pt idx="13" formatCode="0.000">
                  <c:v>2.288782044</c:v>
                </c:pt>
                <c:pt idx="14" formatCode="0.000">
                  <c:v>2.9259820439999999</c:v>
                </c:pt>
                <c:pt idx="15" formatCode="0.000">
                  <c:v>3.1383820440000001</c:v>
                </c:pt>
                <c:pt idx="16" formatCode="0.000">
                  <c:v>3.350779919999999</c:v>
                </c:pt>
                <c:pt idx="17" formatCode="0.000">
                  <c:v>3.7755884160000002</c:v>
                </c:pt>
                <c:pt idx="18" formatCode="0.000">
                  <c:v>5.1116247719999972</c:v>
                </c:pt>
                <c:pt idx="19" formatCode="0.000">
                  <c:v>7.8557074559999966</c:v>
                </c:pt>
                <c:pt idx="20" formatCode="0.000">
                  <c:v>8.284581288</c:v>
                </c:pt>
                <c:pt idx="21" formatCode="0.000">
                  <c:v>7.3166617440000001</c:v>
                </c:pt>
                <c:pt idx="22" formatCode="0.000">
                  <c:v>7.9425578159999972</c:v>
                </c:pt>
                <c:pt idx="23" formatCode="0.000">
                  <c:v>8.3673578160000002</c:v>
                </c:pt>
              </c:numCache>
            </c:numRef>
          </c:val>
          <c:smooth val="0"/>
          <c:extLst>
            <c:ext xmlns:c16="http://schemas.microsoft.com/office/drawing/2014/chart" uri="{C3380CC4-5D6E-409C-BE32-E72D297353CC}">
              <c16:uniqueId val="{00000000-A9E9-4E57-896C-82B8DACACFE1}"/>
            </c:ext>
          </c:extLst>
        </c:ser>
        <c:ser>
          <c:idx val="1"/>
          <c:order val="1"/>
          <c:tx>
            <c:strRef>
              <c:f>Sheet1!$A$10</c:f>
              <c:strCache>
                <c:ptCount val="1"/>
                <c:pt idx="0">
                  <c:v>Volume subscribed (GBp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elete val="1"/>
          </c:dLbls>
          <c:cat>
            <c:numRef>
              <c:f>Sheet1!$B$8:$Y$8</c:f>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numCache>
            </c:numRef>
          </c:cat>
          <c:val>
            <c:numRef>
              <c:f>Sheet1!$B$10:$Y$10</c:f>
              <c:numCache>
                <c:formatCode>General</c:formatCode>
                <c:ptCount val="24"/>
                <c:pt idx="0">
                  <c:v>0.42480000000000001</c:v>
                </c:pt>
                <c:pt idx="1">
                  <c:v>0.53100000000000003</c:v>
                </c:pt>
                <c:pt idx="2">
                  <c:v>1.2744</c:v>
                </c:pt>
                <c:pt idx="3">
                  <c:v>5.31</c:v>
                </c:pt>
                <c:pt idx="4">
                  <c:v>6.3719999999999999</c:v>
                </c:pt>
                <c:pt idx="5">
                  <c:v>7.4340000000000002</c:v>
                </c:pt>
                <c:pt idx="6">
                  <c:v>7.9649999999999972</c:v>
                </c:pt>
                <c:pt idx="7" formatCode="0.000">
                  <c:v>8.1349199999999975</c:v>
                </c:pt>
                <c:pt idx="8" formatCode="0.000">
                  <c:v>9.696060000000001</c:v>
                </c:pt>
                <c:pt idx="9" formatCode="0.000">
                  <c:v>9.8659800000000004</c:v>
                </c:pt>
                <c:pt idx="10" formatCode="0.000">
                  <c:v>10.365119999999999</c:v>
                </c:pt>
                <c:pt idx="11" formatCode="0.000">
                  <c:v>10.6731</c:v>
                </c:pt>
                <c:pt idx="12" formatCode="0.000">
                  <c:v>11.56568976</c:v>
                </c:pt>
                <c:pt idx="13" formatCode="0.000">
                  <c:v>11.443910219999999</c:v>
                </c:pt>
                <c:pt idx="14" formatCode="0.000">
                  <c:v>14.629910219999999</c:v>
                </c:pt>
                <c:pt idx="15" formatCode="0.000">
                  <c:v>15.69191022</c:v>
                </c:pt>
                <c:pt idx="16" formatCode="0.000">
                  <c:v>16.7538996</c:v>
                </c:pt>
                <c:pt idx="17" formatCode="0.000">
                  <c:v>18.87794208</c:v>
                </c:pt>
                <c:pt idx="18" formatCode="0.000">
                  <c:v>25.558123859999998</c:v>
                </c:pt>
                <c:pt idx="19" formatCode="0.000">
                  <c:v>39.278537280000002</c:v>
                </c:pt>
                <c:pt idx="20" formatCode="0.000">
                  <c:v>41.422906440000013</c:v>
                </c:pt>
                <c:pt idx="21" formatCode="0.000">
                  <c:v>36.583308719999998</c:v>
                </c:pt>
                <c:pt idx="22" formatCode="0.000">
                  <c:v>39.712789080000007</c:v>
                </c:pt>
                <c:pt idx="23" formatCode="0.000">
                  <c:v>41.836789080000003</c:v>
                </c:pt>
              </c:numCache>
            </c:numRef>
          </c:val>
          <c:smooth val="0"/>
          <c:extLst>
            <c:ext xmlns:c16="http://schemas.microsoft.com/office/drawing/2014/chart" uri="{C3380CC4-5D6E-409C-BE32-E72D297353CC}">
              <c16:uniqueId val="{00000001-A9E9-4E57-896C-82B8DACACFE1}"/>
            </c:ext>
          </c:extLst>
        </c:ser>
        <c:dLbls>
          <c:showLegendKey val="0"/>
          <c:showVal val="1"/>
          <c:showCatName val="0"/>
          <c:showSerName val="0"/>
          <c:showPercent val="0"/>
          <c:showBubbleSize val="0"/>
        </c:dLbls>
        <c:marker val="1"/>
        <c:smooth val="0"/>
        <c:axId val="-2069324848"/>
        <c:axId val="-2082622512"/>
        <c:extLst>
          <c:ext xmlns:c15="http://schemas.microsoft.com/office/drawing/2012/chart" uri="{02D57815-91ED-43cb-92C2-25804820EDAC}">
            <c15:filteredLineSeries>
              <c15:ser>
                <c:idx val="2"/>
                <c:order val="2"/>
                <c:tx>
                  <c:strRef>
                    <c:extLst>
                      <c:ext uri="{02D57815-91ED-43cb-92C2-25804820EDAC}">
                        <c15:formulaRef>
                          <c15:sqref>Sheet1!$A$12</c15:sqref>
                        </c15:formulaRef>
                      </c:ext>
                    </c:extLst>
                    <c:strCache>
                      <c:ptCount val="1"/>
                      <c:pt idx="0">
                        <c:v>Total Volume (GBp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elete val="1"/>
                </c:dLbls>
                <c:cat>
                  <c:numRef>
                    <c:extLst>
                      <c:ext uri="{02D57815-91ED-43cb-92C2-25804820EDAC}">
                        <c15:formulaRef>
                          <c15:sqref>Sheet1!$B$8:$Y$8</c15:sqref>
                        </c15:formulaRef>
                      </c:ext>
                    </c:extLst>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numCache>
                  </c:numRef>
                </c:cat>
                <c:val>
                  <c:numRef>
                    <c:extLst>
                      <c:ext uri="{02D57815-91ED-43cb-92C2-25804820EDAC}">
                        <c15:formulaRef>
                          <c15:sqref>Sheet1!$B$12:$V$12</c15:sqref>
                        </c15:formulaRef>
                      </c:ext>
                    </c:extLst>
                    <c:numCache>
                      <c:formatCode>General</c:formatCode>
                      <c:ptCount val="21"/>
                      <c:pt idx="0">
                        <c:v>0.50975999999999999</c:v>
                      </c:pt>
                      <c:pt idx="1">
                        <c:v>0.63719999999999999</c:v>
                      </c:pt>
                      <c:pt idx="2">
                        <c:v>1.52928</c:v>
                      </c:pt>
                      <c:pt idx="3">
                        <c:v>6.3719999999999999</c:v>
                      </c:pt>
                      <c:pt idx="4">
                        <c:v>7.6463999999999999</c:v>
                      </c:pt>
                      <c:pt idx="5">
                        <c:v>8.9208000000000016</c:v>
                      </c:pt>
                      <c:pt idx="6">
                        <c:v>9.5580000000000016</c:v>
                      </c:pt>
                      <c:pt idx="7">
                        <c:v>9.7619039999999995</c:v>
                      </c:pt>
                      <c:pt idx="8">
                        <c:v>11.635272000000001</c:v>
                      </c:pt>
                      <c:pt idx="9">
                        <c:v>11.839176</c:v>
                      </c:pt>
                      <c:pt idx="10">
                        <c:v>12.438143999999999</c:v>
                      </c:pt>
                      <c:pt idx="11">
                        <c:v>12.80772</c:v>
                      </c:pt>
                      <c:pt idx="12">
                        <c:v>13.878827712</c:v>
                      </c:pt>
                      <c:pt idx="13">
                        <c:v>13.732692264000001</c:v>
                      </c:pt>
                      <c:pt idx="14">
                        <c:v>17.555892264000001</c:v>
                      </c:pt>
                      <c:pt idx="15">
                        <c:v>18.830292264000001</c:v>
                      </c:pt>
                      <c:pt idx="16">
                        <c:v>20.104679520000001</c:v>
                      </c:pt>
                      <c:pt idx="17">
                        <c:v>22.653530496000009</c:v>
                      </c:pt>
                      <c:pt idx="18">
                        <c:v>30.669748632000001</c:v>
                      </c:pt>
                      <c:pt idx="19">
                        <c:v>47.134244735999999</c:v>
                      </c:pt>
                      <c:pt idx="20">
                        <c:v>49.707487727999997</c:v>
                      </c:pt>
                    </c:numCache>
                  </c:numRef>
                </c:val>
                <c:smooth val="0"/>
                <c:extLst>
                  <c:ext xmlns:c16="http://schemas.microsoft.com/office/drawing/2014/chart" uri="{C3380CC4-5D6E-409C-BE32-E72D297353CC}">
                    <c16:uniqueId val="{00000002-A9E9-4E57-896C-82B8DACACFE1}"/>
                  </c:ext>
                </c:extLst>
              </c15:ser>
            </c15:filteredLineSeries>
          </c:ext>
        </c:extLst>
      </c:lineChart>
      <c:dateAx>
        <c:axId val="-20693248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2622512"/>
        <c:crosses val="autoZero"/>
        <c:auto val="1"/>
        <c:lblOffset val="100"/>
        <c:baseTimeUnit val="months"/>
      </c:dateAx>
      <c:valAx>
        <c:axId val="-20826225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hroughput (in GBps)</a:t>
                </a:r>
              </a:p>
            </c:rich>
          </c:tx>
          <c:layout>
            <c:manualLayout>
              <c:xMode val="edge"/>
              <c:yMode val="edge"/>
              <c:x val="3.6676877335569298E-2"/>
              <c:y val="0.2330013264660860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9324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iphon Events per second (Ingress and Egress)</a:t>
            </a:r>
          </a:p>
        </c:rich>
      </c:tx>
      <c:overlay val="1"/>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927401477448999"/>
          <c:y val="3.7037037037037E-2"/>
          <c:w val="0.83739257895832597"/>
          <c:h val="0.70197779648588099"/>
        </c:manualLayout>
      </c:layout>
      <c:lineChart>
        <c:grouping val="standard"/>
        <c:varyColors val="0"/>
        <c:ser>
          <c:idx val="0"/>
          <c:order val="0"/>
          <c:tx>
            <c:strRef>
              <c:f>Sheet1!$A$15</c:f>
              <c:strCache>
                <c:ptCount val="1"/>
                <c:pt idx="0">
                  <c:v>EPS I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B$14:$Y$14</c:f>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29</c:v>
                </c:pt>
                <c:pt idx="21">
                  <c:v>42644</c:v>
                </c:pt>
                <c:pt idx="22">
                  <c:v>42691</c:v>
                </c:pt>
                <c:pt idx="23">
                  <c:v>42705</c:v>
                </c:pt>
              </c:numCache>
            </c:numRef>
          </c:cat>
          <c:val>
            <c:numRef>
              <c:f>Sheet1!$B$15:$Y$15</c:f>
              <c:numCache>
                <c:formatCode>#,##0</c:formatCode>
                <c:ptCount val="24"/>
                <c:pt idx="0">
                  <c:v>40000</c:v>
                </c:pt>
                <c:pt idx="1">
                  <c:v>50000</c:v>
                </c:pt>
                <c:pt idx="2">
                  <c:v>120000</c:v>
                </c:pt>
                <c:pt idx="3">
                  <c:v>500000</c:v>
                </c:pt>
                <c:pt idx="4">
                  <c:v>600000</c:v>
                </c:pt>
                <c:pt idx="5">
                  <c:v>700000</c:v>
                </c:pt>
                <c:pt idx="6">
                  <c:v>750000</c:v>
                </c:pt>
                <c:pt idx="7" formatCode="_(* #,##0_);_(* \(#,##0\);_(* &quot;-&quot;??_);_(@_)">
                  <c:v>766000</c:v>
                </c:pt>
                <c:pt idx="8" formatCode="_(* #,##0_);_(* \(#,##0\);_(* &quot;-&quot;??_);_(@_)">
                  <c:v>913000</c:v>
                </c:pt>
                <c:pt idx="9" formatCode="_(* #,##0_);_(* \(#,##0\);_(* &quot;-&quot;??_);_(@_)">
                  <c:v>929000</c:v>
                </c:pt>
                <c:pt idx="10" formatCode="_(* #,##0_);_(* \(#,##0\);_(* &quot;-&quot;??_);_(@_)">
                  <c:v>976000</c:v>
                </c:pt>
                <c:pt idx="11" formatCode="_(* #,##0_);_(* \(#,##0\);_(* &quot;-&quot;??_);_(@_)">
                  <c:v>1005000</c:v>
                </c:pt>
                <c:pt idx="12" formatCode="_(* #,##0_);_(* \(#,##0\);_(* &quot;-&quot;??_);_(@_)">
                  <c:v>1089048</c:v>
                </c:pt>
                <c:pt idx="13" formatCode="_(* #,##0_);_(* \(#,##0\);_(* &quot;-&quot;??_);_(@_)">
                  <c:v>1077581</c:v>
                </c:pt>
                <c:pt idx="14" formatCode="_(* #,##0_);_(* \(#,##0\);_(* &quot;-&quot;??_);_(@_)">
                  <c:v>1377581</c:v>
                </c:pt>
                <c:pt idx="15" formatCode="_(* #,##0_);_(* \(#,##0\);_(* &quot;-&quot;??_);_(@_)">
                  <c:v>1477581</c:v>
                </c:pt>
                <c:pt idx="16" formatCode="_(* #,##0_);_(* \(#,##0\);_(* &quot;-&quot;??_);_(@_)">
                  <c:v>1577580</c:v>
                </c:pt>
                <c:pt idx="17" formatCode="_(* #,##0_);_(* \(#,##0\);_(* &quot;-&quot;??_);_(@_)">
                  <c:v>1777584</c:v>
                </c:pt>
                <c:pt idx="18" formatCode="_(* #,##0_);_(* \(#,##0\);_(* &quot;-&quot;??_);_(@_)">
                  <c:v>2406603</c:v>
                </c:pt>
                <c:pt idx="19">
                  <c:v>3698544</c:v>
                </c:pt>
                <c:pt idx="20" formatCode="_(* #,##0_);_(* \(#,##0\);_(* &quot;-&quot;??_);_(@_)">
                  <c:v>3900462</c:v>
                </c:pt>
                <c:pt idx="21" formatCode="_(* #,##0_);_(* \(#,##0\);_(* &quot;-&quot;??_);_(@_)">
                  <c:v>3444756</c:v>
                </c:pt>
                <c:pt idx="22" formatCode="_(* #,##0_);_(* \(#,##0\);_(* &quot;-&quot;??_);_(@_)">
                  <c:v>3739434</c:v>
                </c:pt>
                <c:pt idx="23" formatCode="_(* #,##0_);_(* \(#,##0\);_(* &quot;-&quot;??_);_(@_)">
                  <c:v>3939434</c:v>
                </c:pt>
              </c:numCache>
            </c:numRef>
          </c:val>
          <c:smooth val="0"/>
          <c:extLst>
            <c:ext xmlns:c16="http://schemas.microsoft.com/office/drawing/2014/chart" uri="{C3380CC4-5D6E-409C-BE32-E72D297353CC}">
              <c16:uniqueId val="{00000000-3E1E-4FD7-9DB5-7B21BF7AF0BE}"/>
            </c:ext>
          </c:extLst>
        </c:ser>
        <c:ser>
          <c:idx val="1"/>
          <c:order val="1"/>
          <c:tx>
            <c:strRef>
              <c:f>Sheet1!$A$16</c:f>
              <c:strCache>
                <c:ptCount val="1"/>
                <c:pt idx="0">
                  <c:v>Eps Ou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B$14:$Y$14</c:f>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29</c:v>
                </c:pt>
                <c:pt idx="21">
                  <c:v>42644</c:v>
                </c:pt>
                <c:pt idx="22">
                  <c:v>42691</c:v>
                </c:pt>
                <c:pt idx="23">
                  <c:v>42705</c:v>
                </c:pt>
              </c:numCache>
            </c:numRef>
          </c:cat>
          <c:val>
            <c:numRef>
              <c:f>Sheet1!$B$16:$Y$16</c:f>
              <c:numCache>
                <c:formatCode>General</c:formatCode>
                <c:ptCount val="24"/>
                <c:pt idx="0">
                  <c:v>200000</c:v>
                </c:pt>
                <c:pt idx="1">
                  <c:v>250000</c:v>
                </c:pt>
                <c:pt idx="2">
                  <c:v>600000</c:v>
                </c:pt>
                <c:pt idx="3">
                  <c:v>2500000</c:v>
                </c:pt>
                <c:pt idx="4">
                  <c:v>3000000</c:v>
                </c:pt>
                <c:pt idx="5">
                  <c:v>3500000</c:v>
                </c:pt>
                <c:pt idx="6">
                  <c:v>3750000</c:v>
                </c:pt>
                <c:pt idx="7" formatCode="_(* #,##0_);_(* \(#,##0\);_(* &quot;-&quot;??_);_(@_)">
                  <c:v>3830000</c:v>
                </c:pt>
                <c:pt idx="8" formatCode="_(* #,##0_);_(* \(#,##0\);_(* &quot;-&quot;??_);_(@_)">
                  <c:v>4565000</c:v>
                </c:pt>
                <c:pt idx="9" formatCode="_(* #,##0_);_(* \(#,##0\);_(* &quot;-&quot;??_);_(@_)">
                  <c:v>4645000</c:v>
                </c:pt>
                <c:pt idx="10" formatCode="_(* #,##0_);_(* \(#,##0\);_(* &quot;-&quot;??_);_(@_)">
                  <c:v>4880000</c:v>
                </c:pt>
                <c:pt idx="11" formatCode="_(* #,##0_);_(* \(#,##0\);_(* &quot;-&quot;??_);_(@_)">
                  <c:v>5025000</c:v>
                </c:pt>
                <c:pt idx="12" formatCode="_(* #,##0_);_(* \(#,##0\);_(* &quot;-&quot;??_);_(@_)">
                  <c:v>5445240</c:v>
                </c:pt>
                <c:pt idx="13" formatCode="_(* #,##0_);_(* \(#,##0\);_(* &quot;-&quot;??_);_(@_)">
                  <c:v>5387905</c:v>
                </c:pt>
                <c:pt idx="14" formatCode="_(* #,##0_);_(* \(#,##0\);_(* &quot;-&quot;??_);_(@_)">
                  <c:v>6887905</c:v>
                </c:pt>
                <c:pt idx="15" formatCode="_(* #,##0_);_(* \(#,##0\);_(* &quot;-&quot;??_);_(@_)">
                  <c:v>7387905</c:v>
                </c:pt>
                <c:pt idx="16" formatCode="_(* #,##0_);_(* \(#,##0\);_(* &quot;-&quot;??_);_(@_)">
                  <c:v>7887900</c:v>
                </c:pt>
                <c:pt idx="17" formatCode="_(* #,##0_);_(* \(#,##0\);_(* &quot;-&quot;??_);_(@_)">
                  <c:v>8887920</c:v>
                </c:pt>
                <c:pt idx="18" formatCode="_(* #,##0_);_(* \(#,##0\);_(* &quot;-&quot;??_);_(@_)">
                  <c:v>12033015</c:v>
                </c:pt>
                <c:pt idx="19" formatCode="_(* #,##0_);_(* \(#,##0\);_(* &quot;-&quot;??_);_(@_)">
                  <c:v>18492720</c:v>
                </c:pt>
                <c:pt idx="20" formatCode="_(* #,##0_);_(* \(#,##0\);_(* &quot;-&quot;??_);_(@_)">
                  <c:v>19502310</c:v>
                </c:pt>
                <c:pt idx="21" formatCode="_(* #,##0_);_(* \(#,##0\);_(* &quot;-&quot;??_);_(@_)">
                  <c:v>17223780</c:v>
                </c:pt>
                <c:pt idx="22" formatCode="_(* #,##0_);_(* \(#,##0\);_(* &quot;-&quot;??_);_(@_)">
                  <c:v>18697170</c:v>
                </c:pt>
                <c:pt idx="23" formatCode="_(* #,##0_);_(* \(#,##0\);_(* &quot;-&quot;??_);_(@_)">
                  <c:v>19697170</c:v>
                </c:pt>
              </c:numCache>
            </c:numRef>
          </c:val>
          <c:smooth val="0"/>
          <c:extLst>
            <c:ext xmlns:c16="http://schemas.microsoft.com/office/drawing/2014/chart" uri="{C3380CC4-5D6E-409C-BE32-E72D297353CC}">
              <c16:uniqueId val="{00000001-3E1E-4FD7-9DB5-7B21BF7AF0BE}"/>
            </c:ext>
          </c:extLst>
        </c:ser>
        <c:dLbls>
          <c:showLegendKey val="0"/>
          <c:showVal val="0"/>
          <c:showCatName val="0"/>
          <c:showSerName val="0"/>
          <c:showPercent val="0"/>
          <c:showBubbleSize val="0"/>
        </c:dLbls>
        <c:marker val="1"/>
        <c:smooth val="0"/>
        <c:axId val="-2078403408"/>
        <c:axId val="-2084187808"/>
        <c:extLst>
          <c:ext xmlns:c15="http://schemas.microsoft.com/office/drawing/2012/chart" uri="{02D57815-91ED-43cb-92C2-25804820EDAC}">
            <c15:filteredLineSeries>
              <c15:ser>
                <c:idx val="2"/>
                <c:order val="2"/>
                <c:tx>
                  <c:strRef>
                    <c:extLst>
                      <c:ext uri="{02D57815-91ED-43cb-92C2-25804820EDAC}">
                        <c15:formulaRef>
                          <c15:sqref>Sheet1!$A$18</c15:sqref>
                        </c15:formulaRef>
                      </c:ext>
                    </c:extLst>
                    <c:strCache>
                      <c:ptCount val="1"/>
                      <c:pt idx="0">
                        <c:v>Total EP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extLst>
                      <c:ext uri="{02D57815-91ED-43cb-92C2-25804820EDAC}">
                        <c15:formulaRef>
                          <c15:sqref>Sheet1!$B$14:$Y$14</c15:sqref>
                        </c15:formulaRef>
                      </c:ext>
                    </c:extLst>
                    <c:numCache>
                      <c:formatCode>mmm\-yy</c:formatCode>
                      <c:ptCount val="2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29</c:v>
                      </c:pt>
                      <c:pt idx="21">
                        <c:v>42644</c:v>
                      </c:pt>
                      <c:pt idx="22">
                        <c:v>42691</c:v>
                      </c:pt>
                      <c:pt idx="23">
                        <c:v>42705</c:v>
                      </c:pt>
                    </c:numCache>
                  </c:numRef>
                </c:cat>
                <c:val>
                  <c:numRef>
                    <c:extLst>
                      <c:ext uri="{02D57815-91ED-43cb-92C2-25804820EDAC}">
                        <c15:formulaRef>
                          <c15:sqref>Sheet1!$B$18:$Y$18</c15:sqref>
                        </c15:formulaRef>
                      </c:ext>
                    </c:extLst>
                    <c:numCache>
                      <c:formatCode>#,##0</c:formatCode>
                      <c:ptCount val="24"/>
                      <c:pt idx="0">
                        <c:v>240000</c:v>
                      </c:pt>
                      <c:pt idx="1">
                        <c:v>300000</c:v>
                      </c:pt>
                      <c:pt idx="2">
                        <c:v>720000</c:v>
                      </c:pt>
                      <c:pt idx="3">
                        <c:v>3000000</c:v>
                      </c:pt>
                      <c:pt idx="4">
                        <c:v>3600000</c:v>
                      </c:pt>
                      <c:pt idx="5">
                        <c:v>4200000</c:v>
                      </c:pt>
                      <c:pt idx="6">
                        <c:v>4500000</c:v>
                      </c:pt>
                      <c:pt idx="7">
                        <c:v>4596000</c:v>
                      </c:pt>
                      <c:pt idx="8">
                        <c:v>5478000</c:v>
                      </c:pt>
                      <c:pt idx="9">
                        <c:v>5574000</c:v>
                      </c:pt>
                      <c:pt idx="10">
                        <c:v>5856000</c:v>
                      </c:pt>
                      <c:pt idx="11">
                        <c:v>6030000</c:v>
                      </c:pt>
                      <c:pt idx="12">
                        <c:v>6534288</c:v>
                      </c:pt>
                      <c:pt idx="13">
                        <c:v>6465486</c:v>
                      </c:pt>
                      <c:pt idx="14">
                        <c:v>8265486</c:v>
                      </c:pt>
                      <c:pt idx="15">
                        <c:v>8865486</c:v>
                      </c:pt>
                      <c:pt idx="16">
                        <c:v>9465480</c:v>
                      </c:pt>
                      <c:pt idx="17">
                        <c:v>10665504</c:v>
                      </c:pt>
                      <c:pt idx="18">
                        <c:v>14439618</c:v>
                      </c:pt>
                      <c:pt idx="19">
                        <c:v>22191264</c:v>
                      </c:pt>
                      <c:pt idx="20">
                        <c:v>23402772</c:v>
                      </c:pt>
                    </c:numCache>
                  </c:numRef>
                </c:val>
                <c:smooth val="0"/>
                <c:extLst>
                  <c:ext xmlns:c16="http://schemas.microsoft.com/office/drawing/2014/chart" uri="{C3380CC4-5D6E-409C-BE32-E72D297353CC}">
                    <c16:uniqueId val="{00000002-3E1E-4FD7-9DB5-7B21BF7AF0BE}"/>
                  </c:ext>
                </c:extLst>
              </c15:ser>
            </c15:filteredLineSeries>
          </c:ext>
        </c:extLst>
      </c:lineChart>
      <c:dateAx>
        <c:axId val="-20784034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4187808"/>
        <c:crosses val="autoZero"/>
        <c:auto val="1"/>
        <c:lblOffset val="100"/>
        <c:baseTimeUnit val="months"/>
      </c:dateAx>
      <c:valAx>
        <c:axId val="-208418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hroughput (events per sec)</a:t>
                </a:r>
              </a:p>
            </c:rich>
          </c:tx>
          <c:layout>
            <c:manualLayout>
              <c:xMode val="edge"/>
              <c:yMode val="edge"/>
              <c:x val="3.00513830193503E-2"/>
              <c:y val="0.2168686538645059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8403408"/>
        <c:crosses val="autoZero"/>
        <c:crossBetween val="between"/>
        <c:dispUnits>
          <c:builtInUnit val="millions"/>
          <c:dispUnitsLbl>
            <c:layout>
              <c:manualLayout>
                <c:xMode val="edge"/>
                <c:yMode val="edge"/>
                <c:x val="3.34433119687646E-2"/>
                <c:y val="4.8333955951287498E-2"/>
              </c:manualLayout>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11/13/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visual-studio-tools-get-started/" TargetMode="External"/><Relationship Id="rId7" Type="http://schemas.openxmlformats.org/officeDocument/2006/relationships/hyperlink" Target="https://azure.microsoft.com/en-us/documentation/articles/hdinsight-apache-spark-zeppelin-notebook/"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azure.microsoft.com/en-us/documentation/articles/hdinsight-apache-spark-jupyter-notebook-kernels/" TargetMode="External"/><Relationship Id="rId5" Type="http://schemas.openxmlformats.org/officeDocument/2006/relationships/hyperlink" Target="https://azure.microsoft.com/en-us/documentation/articles/hdinsight-apache-spark-intellij-tool-plugin-debug-jobs-remotely/" TargetMode="External"/><Relationship Id="rId4" Type="http://schemas.openxmlformats.org/officeDocument/2006/relationships/hyperlink" Target="https://azure.microsoft.com/en-us/documentation/articles/hdinsight-apache-spark-eclipse-tool-plugi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58</a:t>
            </a:fld>
            <a:endParaRPr lang="en-US"/>
          </a:p>
        </p:txBody>
      </p:sp>
    </p:spTree>
    <p:extLst>
      <p:ext uri="{BB962C8B-B14F-4D97-AF65-F5344CB8AC3E}">
        <p14:creationId xmlns:p14="http://schemas.microsoft.com/office/powerpoint/2010/main" val="1978098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6</a:t>
            </a:fld>
            <a:endParaRPr lang="en-US"/>
          </a:p>
        </p:txBody>
      </p:sp>
    </p:spTree>
    <p:extLst>
      <p:ext uri="{BB962C8B-B14F-4D97-AF65-F5344CB8AC3E}">
        <p14:creationId xmlns:p14="http://schemas.microsoft.com/office/powerpoint/2010/main" val="1198566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dirty="0"/>
              <a:t>Azure HDInsight is a secure and managed platform for building data lakes on Azure based on the Apache Hadoop and Spark frameworks. So, what all does HDInsight have to offer?</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dirty="0"/>
              <a:t> </a:t>
            </a:r>
          </a:p>
          <a:p>
            <a:pPr marL="228600" indent="-228600">
              <a:buFont typeface="+mj-lt"/>
              <a:buAutoNum type="arabicPeriod"/>
            </a:pPr>
            <a:r>
              <a:rPr lang="en-US" sz="900" b="1" dirty="0"/>
              <a:t>Reliable Open Source analytics with an Industry leading SLA</a:t>
            </a:r>
            <a:br>
              <a:rPr lang="en-US" sz="900" b="1" dirty="0"/>
            </a:br>
            <a:r>
              <a:rPr lang="en-US" sz="900" dirty="0"/>
              <a:t>HDInsight allows you to easily spin up open source cluster types guaranteed with the industry’s best </a:t>
            </a:r>
            <a:r>
              <a:rPr lang="en-US" sz="900" b="1" dirty="0"/>
              <a:t>99.9%</a:t>
            </a:r>
            <a:r>
              <a:rPr lang="en-US" sz="900" dirty="0"/>
              <a:t> </a:t>
            </a:r>
            <a:r>
              <a:rPr lang="en-US" sz="900" b="1" dirty="0"/>
              <a:t>SLA and 24/7 support</a:t>
            </a:r>
            <a:r>
              <a:rPr lang="en-US" sz="900" dirty="0"/>
              <a:t>. We guarantee this SLA for the entire big data solution, not just the VM instances. HDInsight is architected for </a:t>
            </a:r>
            <a:r>
              <a:rPr lang="en-US" sz="900" b="1" dirty="0"/>
              <a:t>full redundancy</a:t>
            </a:r>
            <a:r>
              <a:rPr lang="en-US" sz="900" dirty="0"/>
              <a:t> and </a:t>
            </a:r>
            <a:r>
              <a:rPr lang="en-US" sz="900" b="1" dirty="0"/>
              <a:t>high availability</a:t>
            </a:r>
            <a:r>
              <a:rPr lang="en-US" sz="900" dirty="0"/>
              <a:t> including </a:t>
            </a:r>
            <a:r>
              <a:rPr lang="en-US" sz="900" b="1" dirty="0"/>
              <a:t>head node replication</a:t>
            </a:r>
            <a:r>
              <a:rPr lang="en-US" sz="900" dirty="0"/>
              <a:t>, </a:t>
            </a:r>
            <a:r>
              <a:rPr lang="en-US" sz="900" b="1" dirty="0"/>
              <a:t>data geo-replication</a:t>
            </a:r>
            <a:r>
              <a:rPr lang="en-US" sz="900" dirty="0"/>
              <a:t>, and </a:t>
            </a:r>
            <a:r>
              <a:rPr lang="en-US" sz="900" b="1" dirty="0"/>
              <a:t>built-in standby </a:t>
            </a:r>
            <a:r>
              <a:rPr lang="en-US" sz="900" b="1" dirty="0" err="1"/>
              <a:t>NameNode</a:t>
            </a:r>
            <a:r>
              <a:rPr lang="en-US" sz="900" dirty="0"/>
              <a:t> making HDInsight resilient to critical failures not addressed in standard Hadoop implementations. Azure also offers cluster monitoring and </a:t>
            </a:r>
            <a:r>
              <a:rPr lang="en-US" sz="900" b="1" dirty="0"/>
              <a:t>24x7</a:t>
            </a:r>
            <a:r>
              <a:rPr lang="en-US" sz="900" dirty="0"/>
              <a:t> enterprise support backed by Microsoft and Hortonworks with </a:t>
            </a:r>
            <a:r>
              <a:rPr lang="en-US" sz="900" b="1" dirty="0"/>
              <a:t>37 combined committers</a:t>
            </a:r>
            <a:r>
              <a:rPr lang="en-US" sz="900" dirty="0"/>
              <a:t> for Hadoop core, more than </a:t>
            </a:r>
            <a:r>
              <a:rPr lang="en-US" sz="900" b="1" dirty="0"/>
              <a:t>all other managed cloud providers combined</a:t>
            </a:r>
            <a:r>
              <a:rPr lang="en-US" sz="900" dirty="0"/>
              <a:t> to support your deployment and the ability to </a:t>
            </a:r>
            <a:r>
              <a:rPr lang="en-US" sz="900" b="1" dirty="0"/>
              <a:t>fix</a:t>
            </a:r>
            <a:r>
              <a:rPr lang="en-US" sz="900" dirty="0"/>
              <a:t> and </a:t>
            </a:r>
            <a:r>
              <a:rPr lang="en-US" sz="900" b="1" dirty="0"/>
              <a:t>commit code</a:t>
            </a:r>
            <a:r>
              <a:rPr lang="en-US" sz="900" dirty="0"/>
              <a:t> back to Hadoop.</a:t>
            </a:r>
          </a:p>
          <a:p>
            <a:pPr marL="228600" indent="-228600">
              <a:buFont typeface="+mj-lt"/>
              <a:buAutoNum type="arabicPeriod"/>
            </a:pPr>
            <a:r>
              <a:rPr lang="en-US" sz="900" b="1" dirty="0"/>
              <a:t>Enterprise Grade Security &amp; Monitoring</a:t>
            </a:r>
            <a:br>
              <a:rPr lang="en-US" sz="900" b="1" dirty="0"/>
            </a:br>
            <a:r>
              <a:rPr lang="en-US" sz="900" dirty="0"/>
              <a:t>HDInsight protects your data assets and easily extends your on-premise security and governance controls to the cloud. We feature </a:t>
            </a:r>
            <a:r>
              <a:rPr lang="en-US" sz="900" b="1" dirty="0"/>
              <a:t>single sign-on (SSO), multi-factor authentication</a:t>
            </a:r>
            <a:r>
              <a:rPr lang="en-US" sz="900" dirty="0"/>
              <a:t> and seamless management of millions of identities through </a:t>
            </a:r>
            <a:r>
              <a:rPr lang="en-US" sz="900" b="1" dirty="0"/>
              <a:t>Azure Active Directory</a:t>
            </a:r>
            <a:r>
              <a:rPr lang="en-US" sz="900" dirty="0"/>
              <a:t>. You can authorize users and groups with </a:t>
            </a:r>
            <a:r>
              <a:rPr lang="en-US" sz="900" b="1" dirty="0"/>
              <a:t>fine-grained access control policies </a:t>
            </a:r>
            <a:r>
              <a:rPr lang="en-US" sz="900" dirty="0"/>
              <a:t>over all your enterprise data </a:t>
            </a:r>
            <a:r>
              <a:rPr lang="en-US" sz="900" b="1" dirty="0"/>
              <a:t>with Apache Ranger</a:t>
            </a:r>
            <a:r>
              <a:rPr lang="en-US" sz="900" dirty="0"/>
              <a:t>. HDInsight meets </a:t>
            </a:r>
            <a:r>
              <a:rPr lang="en-US" sz="900" b="1" dirty="0"/>
              <a:t>HIPAA, PCI, SOC </a:t>
            </a:r>
            <a:r>
              <a:rPr lang="en-US" sz="900" dirty="0"/>
              <a:t>compliance, ensuring your enterprise data assets are always protected with the highest </a:t>
            </a:r>
            <a:r>
              <a:rPr lang="en-US" sz="900" b="1" dirty="0"/>
              <a:t>security and regulatory compliance</a:t>
            </a:r>
            <a:r>
              <a:rPr lang="en-US" sz="900" dirty="0"/>
              <a:t>.</a:t>
            </a:r>
            <a:r>
              <a:rPr lang="en-US" sz="900" b="1" dirty="0"/>
              <a:t> </a:t>
            </a:r>
            <a:r>
              <a:rPr lang="en-US" sz="900" dirty="0"/>
              <a:t>To ensure the highest level of business continuity, HDInsight extends capabilities for alerting, monitoring, defining pre-emptive actions, and enhanced workload protection through native integration with </a:t>
            </a:r>
            <a:r>
              <a:rPr lang="en-US" sz="900" b="1" dirty="0"/>
              <a:t>Azure Operations Management Suite (OMS)</a:t>
            </a:r>
            <a:r>
              <a:rPr lang="en-US" sz="900" dirty="0"/>
              <a:t>. </a:t>
            </a:r>
          </a:p>
          <a:p>
            <a:pPr marL="228600" indent="-228600">
              <a:buFont typeface="+mj-lt"/>
              <a:buAutoNum type="arabicPeriod"/>
            </a:pPr>
            <a:r>
              <a:rPr lang="en-US" sz="900" dirty="0"/>
              <a:t>Most Productive platform for developers and scientists </a:t>
            </a:r>
            <a:br>
              <a:rPr lang="en-US" sz="900" dirty="0"/>
            </a:br>
            <a:r>
              <a:rPr lang="en-NZ" sz="900" dirty="0"/>
              <a:t>HDInsight offers </a:t>
            </a:r>
            <a:r>
              <a:rPr lang="en-NZ" sz="900" b="1" dirty="0"/>
              <a:t>developers</a:t>
            </a:r>
            <a:r>
              <a:rPr lang="en-NZ" sz="900" dirty="0"/>
              <a:t> tailored experiences through </a:t>
            </a:r>
            <a:r>
              <a:rPr lang="en-NZ" sz="900" b="1" dirty="0"/>
              <a:t>rich productivity suites</a:t>
            </a:r>
            <a:r>
              <a:rPr lang="en-NZ" sz="900" dirty="0"/>
              <a:t> for Hadoop &amp; Spark with </a:t>
            </a:r>
            <a:r>
              <a:rPr lang="en-NZ" sz="900" b="1" dirty="0"/>
              <a:t>integrated development environments</a:t>
            </a:r>
            <a:r>
              <a:rPr lang="en-NZ" sz="900" dirty="0"/>
              <a:t> using </a:t>
            </a:r>
            <a:r>
              <a:rPr lang="en-US" sz="900" b="1" u="sng" dirty="0">
                <a:hlinkClick r:id="rId3"/>
              </a:rPr>
              <a:t>Visual Studio</a:t>
            </a:r>
            <a:r>
              <a:rPr lang="en-NZ" sz="900" b="1" dirty="0"/>
              <a:t>, </a:t>
            </a:r>
            <a:r>
              <a:rPr lang="en-US" sz="900" b="1" u="sng" dirty="0">
                <a:hlinkClick r:id="rId4"/>
              </a:rPr>
              <a:t>Eclipse</a:t>
            </a:r>
            <a:r>
              <a:rPr lang="en-NZ" sz="900" dirty="0"/>
              <a:t>, and </a:t>
            </a:r>
            <a:r>
              <a:rPr lang="en-US" sz="900" b="1" u="sng" dirty="0">
                <a:hlinkClick r:id="rId5"/>
              </a:rPr>
              <a:t>IntelliJ</a:t>
            </a:r>
            <a:r>
              <a:rPr lang="en-NZ" sz="900" dirty="0"/>
              <a:t> supporting </a:t>
            </a:r>
            <a:r>
              <a:rPr lang="en-NZ" sz="900" b="1" dirty="0"/>
              <a:t>Scala, Python, R, Java</a:t>
            </a:r>
            <a:r>
              <a:rPr lang="en-NZ" sz="900" dirty="0"/>
              <a:t>, and </a:t>
            </a:r>
            <a:r>
              <a:rPr lang="en-NZ" sz="900" dirty="0" err="1"/>
              <a:t>.</a:t>
            </a:r>
            <a:r>
              <a:rPr lang="en-NZ" sz="900" b="1" dirty="0" err="1"/>
              <a:t>Net</a:t>
            </a:r>
            <a:r>
              <a:rPr lang="en-NZ" sz="900" dirty="0"/>
              <a:t>. HDInsight gives data scientists the ability to </a:t>
            </a:r>
            <a:r>
              <a:rPr lang="en-NZ" sz="900" b="1" dirty="0"/>
              <a:t>create narratives that combine code, statistical equations, and visualizations</a:t>
            </a:r>
            <a:r>
              <a:rPr lang="en-NZ" sz="900" dirty="0"/>
              <a:t> that tell a story about the data through integration to the two most popular notebooks: </a:t>
            </a:r>
            <a:r>
              <a:rPr lang="en-US" sz="900" b="1" u="sng" dirty="0">
                <a:hlinkClick r:id="rId6"/>
              </a:rPr>
              <a:t>Jupyter</a:t>
            </a:r>
            <a:r>
              <a:rPr lang="en-NZ" sz="900" dirty="0"/>
              <a:t> and </a:t>
            </a:r>
            <a:r>
              <a:rPr lang="en-US" sz="900" b="1" u="sng" dirty="0">
                <a:hlinkClick r:id="rId7"/>
              </a:rPr>
              <a:t>Zeppelin</a:t>
            </a:r>
            <a:r>
              <a:rPr lang="en-NZ" sz="900" dirty="0"/>
              <a:t>. HDInsight is also the only managed cloud Hadoop solution with integration to </a:t>
            </a:r>
            <a:r>
              <a:rPr lang="en-NZ" sz="900" b="1" dirty="0"/>
              <a:t>Microsoft R Server</a:t>
            </a:r>
            <a:r>
              <a:rPr lang="en-NZ" sz="900" dirty="0"/>
              <a:t>.  </a:t>
            </a:r>
            <a:r>
              <a:rPr lang="en-NZ" sz="900" b="1" dirty="0"/>
              <a:t>Multi-threaded math libraries</a:t>
            </a:r>
            <a:r>
              <a:rPr lang="en-NZ" sz="900" dirty="0"/>
              <a:t> and </a:t>
            </a:r>
            <a:r>
              <a:rPr lang="en-NZ" sz="900" b="1" dirty="0"/>
              <a:t>transparent parallelization</a:t>
            </a:r>
            <a:r>
              <a:rPr lang="en-NZ" sz="900" dirty="0"/>
              <a:t> in R Server means handling up to </a:t>
            </a:r>
            <a:r>
              <a:rPr lang="en-NZ" sz="900" b="1" dirty="0"/>
              <a:t>1000x more data</a:t>
            </a:r>
            <a:r>
              <a:rPr lang="en-NZ" sz="900" dirty="0"/>
              <a:t> and up to </a:t>
            </a:r>
            <a:r>
              <a:rPr lang="en-NZ" sz="900" b="1" dirty="0"/>
              <a:t>50x faster speeds</a:t>
            </a:r>
            <a:r>
              <a:rPr lang="en-NZ" sz="900" dirty="0"/>
              <a:t> than open source R</a:t>
            </a:r>
            <a:r>
              <a:rPr lang="en-US" sz="900" dirty="0"/>
              <a:t>—</a:t>
            </a:r>
            <a:r>
              <a:rPr lang="en-NZ" sz="900" dirty="0"/>
              <a:t>helping you train more accurate models for better predictions than previously possible.  </a:t>
            </a:r>
            <a:endParaRPr lang="en-US" sz="900" dirty="0"/>
          </a:p>
          <a:p>
            <a:pPr marL="228600" indent="-228600">
              <a:buFont typeface="+mj-lt"/>
              <a:buAutoNum type="arabicPeriod"/>
            </a:pPr>
            <a:r>
              <a:rPr lang="en-US" sz="900" b="1" dirty="0"/>
              <a:t>Cost effective cloud scale</a:t>
            </a:r>
            <a:br>
              <a:rPr lang="en-US" sz="900" b="1" dirty="0"/>
            </a:br>
            <a:r>
              <a:rPr lang="en-US" sz="900" dirty="0"/>
              <a:t>HDInsight has </a:t>
            </a:r>
            <a:r>
              <a:rPr lang="en-NZ" sz="900" b="1" dirty="0"/>
              <a:t>decoupled compute and storage</a:t>
            </a:r>
            <a:r>
              <a:rPr lang="en-NZ" sz="900" dirty="0"/>
              <a:t>, enabling you to </a:t>
            </a:r>
            <a:r>
              <a:rPr lang="en-NZ" sz="900" b="1" dirty="0"/>
              <a:t>cost-effectively scale workloads up or down</a:t>
            </a:r>
            <a:r>
              <a:rPr lang="en-NZ" sz="900" dirty="0"/>
              <a:t>, independent of storage. Local storage can still be used for caching and fast I/O. Spark and interactive Hive users can choose SSD memory for interactive performance; while Kafka users can retain all streaming data in premium managed disks. You </a:t>
            </a:r>
            <a:r>
              <a:rPr lang="en-NZ" sz="900" b="1" dirty="0"/>
              <a:t>only pay for </a:t>
            </a:r>
            <a:r>
              <a:rPr lang="en-NZ" sz="900" dirty="0"/>
              <a:t>the compute and storage </a:t>
            </a:r>
            <a:r>
              <a:rPr lang="en-NZ" sz="900" b="1" dirty="0"/>
              <a:t>you use</a:t>
            </a:r>
            <a:r>
              <a:rPr lang="en-NZ" sz="900" dirty="0"/>
              <a:t> and are given the ability to choose any Azure VM types that enables the best utilization of resources.  A recent </a:t>
            </a:r>
            <a:r>
              <a:rPr lang="en-NZ" sz="900" u="sng" dirty="0"/>
              <a:t>study</a:t>
            </a:r>
            <a:r>
              <a:rPr lang="en-NZ" sz="900" dirty="0"/>
              <a:t> showed HDInsight delivering </a:t>
            </a:r>
            <a:r>
              <a:rPr lang="en-NZ" sz="900" b="1" dirty="0"/>
              <a:t>63% lower TCO</a:t>
            </a:r>
            <a:r>
              <a:rPr lang="en-NZ" sz="900" dirty="0"/>
              <a:t> than deploying Hadoop on premises over 5 years.*</a:t>
            </a:r>
          </a:p>
          <a:p>
            <a:pPr marL="228600" indent="-228600">
              <a:buFont typeface="+mj-lt"/>
              <a:buAutoNum type="arabicPeriod"/>
            </a:pPr>
            <a:r>
              <a:rPr lang="en-US" sz="900" b="1" dirty="0"/>
              <a:t>Integration with leading Productivity Applications</a:t>
            </a:r>
            <a:br>
              <a:rPr lang="en-US" sz="900" b="1" dirty="0"/>
            </a:br>
            <a:r>
              <a:rPr lang="en-US" sz="900" dirty="0"/>
              <a:t>In the broader ecosystem for Hadoop, there is a thriving market of independent software vendors (ISVs) who provide value added solutions. Through a unique design where </a:t>
            </a:r>
            <a:r>
              <a:rPr lang="en-US" sz="900" b="1" dirty="0"/>
              <a:t>every cluster is extended</a:t>
            </a:r>
            <a:r>
              <a:rPr lang="en-US" sz="900" dirty="0"/>
              <a:t> with edge nodes and script action, HDInsight lets customers spin up Hadoop and Spark clusters pre-integrated and pre-tuned </a:t>
            </a:r>
            <a:r>
              <a:rPr lang="en-US" sz="900" b="1" dirty="0"/>
              <a:t>with any ISV application out-of-the-box</a:t>
            </a:r>
            <a:r>
              <a:rPr lang="en-US" sz="900" dirty="0"/>
              <a:t>. </a:t>
            </a:r>
            <a:r>
              <a:rPr lang="en-US" sz="900" dirty="0" err="1"/>
              <a:t>Datameer</a:t>
            </a:r>
            <a:r>
              <a:rPr lang="en-US" sz="900" dirty="0"/>
              <a:t>, Cask, </a:t>
            </a:r>
            <a:r>
              <a:rPr lang="en-US" sz="900" dirty="0" err="1"/>
              <a:t>AtScale</a:t>
            </a:r>
            <a:r>
              <a:rPr lang="en-US" sz="900" dirty="0"/>
              <a:t>, </a:t>
            </a:r>
            <a:r>
              <a:rPr lang="en-US" sz="900" dirty="0" err="1"/>
              <a:t>StreamSets</a:t>
            </a:r>
            <a:r>
              <a:rPr lang="en-US" sz="900" dirty="0"/>
              <a:t> are few such applications, which are very popular on the HDInsight platform today. </a:t>
            </a:r>
          </a:p>
          <a:p>
            <a:pPr marL="228600" indent="-228600">
              <a:buFont typeface="+mj-lt"/>
              <a:buAutoNum type="arabicPeriod"/>
            </a:pPr>
            <a:r>
              <a:rPr lang="en-US" sz="900" b="1" dirty="0"/>
              <a:t>Easy for administrators to manage</a:t>
            </a:r>
            <a:br>
              <a:rPr lang="en-US" sz="900" b="1" dirty="0"/>
            </a:br>
            <a:r>
              <a:rPr lang="en-NZ" sz="900" dirty="0"/>
              <a:t>With HDInsight, administrators can deploy Hadoop in the cloud </a:t>
            </a:r>
            <a:r>
              <a:rPr lang="en-NZ" sz="900" b="1" dirty="0"/>
              <a:t>without buying new hardware</a:t>
            </a:r>
            <a:r>
              <a:rPr lang="en-NZ" sz="900" dirty="0"/>
              <a:t> or incurring other up-front costs. There</a:t>
            </a:r>
            <a:r>
              <a:rPr lang="en-US" sz="900" dirty="0"/>
              <a:t>’</a:t>
            </a:r>
            <a:r>
              <a:rPr lang="en-NZ" sz="900" dirty="0"/>
              <a:t>s also </a:t>
            </a:r>
            <a:r>
              <a:rPr lang="en-NZ" sz="900" b="1" dirty="0"/>
              <a:t>no time-consuming installation or set up</a:t>
            </a:r>
            <a:r>
              <a:rPr lang="en-NZ" sz="900" dirty="0"/>
              <a:t>. There is also no need to patch the operating system or upgrade the Hadoop versions. Azure does it for you. Launch your first cluster in minutes. </a:t>
            </a:r>
            <a:endParaRPr lang="en-US" sz="90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1/13/18 10:2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147145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3/18 10:2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257281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43</a:t>
            </a:fld>
            <a:endParaRPr lang="en-US"/>
          </a:p>
        </p:txBody>
      </p:sp>
    </p:spTree>
    <p:extLst>
      <p:ext uri="{BB962C8B-B14F-4D97-AF65-F5344CB8AC3E}">
        <p14:creationId xmlns:p14="http://schemas.microsoft.com/office/powerpoint/2010/main" val="330809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3/18 10: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6354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oyota Chose HDInsight, and the customer</a:t>
            </a:r>
            <a:r>
              <a:rPr lang="en-US" baseline="0"/>
              <a:t> success</a:t>
            </a:r>
          </a:p>
          <a:p>
            <a:endParaRPr lang="en-US" baseline="0"/>
          </a:p>
          <a:p>
            <a:r>
              <a:rPr lang="en-US" baseline="0"/>
              <a:t>Next add the HDI value prop slides</a:t>
            </a:r>
          </a:p>
          <a:p>
            <a:r>
              <a:rPr lang="en-US" baseline="0"/>
              <a:t>Then go back to Kafka itself and the Managed Disks part, and all the work we had done here</a:t>
            </a:r>
          </a:p>
          <a:p>
            <a:endParaRPr lang="en-US" baseline="0"/>
          </a:p>
          <a:p>
            <a:r>
              <a:rPr lang="en-US" baseline="0"/>
              <a:t>Finally show how to deploy the technologies</a:t>
            </a:r>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5A1012-8552-45BB-AFF8-ACAD0D967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829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O:</a:t>
            </a:r>
            <a:r>
              <a:rPr lang="en-US" baseline="0"/>
              <a:t> Update with Detailed Toyota’s architecture</a:t>
            </a:r>
            <a:endParaRPr lang="en-US"/>
          </a:p>
          <a:p>
            <a:r>
              <a:rPr lang="en-US"/>
              <a:t>https://azure.microsoft.com/en-us/blog/announcing-public-preview-of-apache-kafka-on-hdinsight-with-azure-managed-disk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18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019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19DE5E-4B94-4F1A-AB36-C55EBF3106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517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jp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jpe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34157459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41505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11160091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Black Graphix">
  <p:cSld name="Black Graphix">
    <p:bg>
      <p:bgPr>
        <a:solidFill>
          <a:schemeClr val="dk1"/>
        </a:solidFill>
        <a:effectLst/>
      </p:bgPr>
    </p:bg>
    <p:spTree>
      <p:nvGrpSpPr>
        <p:cNvPr id="1" name="Shape 742"/>
        <p:cNvGrpSpPr/>
        <p:nvPr/>
      </p:nvGrpSpPr>
      <p:grpSpPr>
        <a:xfrm>
          <a:off x="0" y="0"/>
          <a:ext cx="0" cy="0"/>
          <a:chOff x="0" y="0"/>
          <a:chExt cx="0" cy="0"/>
        </a:xfrm>
      </p:grpSpPr>
      <p:sp>
        <p:nvSpPr>
          <p:cNvPr id="743" name="Google Shape;743;p52"/>
          <p:cNvSpPr txBox="1">
            <a:spLocks noGrp="1"/>
          </p:cNvSpPr>
          <p:nvPr>
            <p:ph type="title"/>
          </p:nvPr>
        </p:nvSpPr>
        <p:spPr>
          <a:xfrm>
            <a:off x="361536" y="219772"/>
            <a:ext cx="11487600" cy="550000"/>
          </a:xfrm>
          <a:prstGeom prst="rect">
            <a:avLst/>
          </a:prstGeom>
          <a:noFill/>
          <a:ln>
            <a:noFill/>
          </a:ln>
        </p:spPr>
        <p:txBody>
          <a:bodyPr spcFirstLastPara="1" wrap="square" lIns="68575" tIns="68575" rIns="68575" bIns="68575" anchor="t" anchorCtr="0"/>
          <a:lstStyle>
            <a:lvl1pPr marR="0" lvl="0" algn="ctr" rtl="0">
              <a:lnSpc>
                <a:spcPct val="90000"/>
              </a:lnSpc>
              <a:spcBef>
                <a:spcPts val="800"/>
              </a:spcBef>
              <a:spcAft>
                <a:spcPts val="0"/>
              </a:spcAft>
              <a:buSzPts val="1100"/>
              <a:buNone/>
              <a:defRPr sz="4000" b="1" i="0" u="none" strike="noStrike" cap="none">
                <a:solidFill>
                  <a:schemeClr val="lt1"/>
                </a:solidFill>
                <a:latin typeface="Source Sans Pro SemiBold"/>
                <a:ea typeface="Source Sans Pro SemiBold"/>
                <a:cs typeface="Source Sans Pro SemiBold"/>
                <a:sym typeface="Source Sans Pro SemiBold"/>
              </a:defRPr>
            </a:lvl1pPr>
            <a:lvl2pPr marR="0" lvl="1" algn="l" rtl="0">
              <a:spcBef>
                <a:spcPts val="0"/>
              </a:spcBef>
              <a:spcAft>
                <a:spcPts val="0"/>
              </a:spcAft>
              <a:buSzPts val="1100"/>
              <a:buNone/>
              <a:defRPr sz="5333" b="0" i="0" u="none" strike="noStrike" cap="none">
                <a:solidFill>
                  <a:schemeClr val="dk1"/>
                </a:solidFill>
                <a:latin typeface="Arial"/>
                <a:ea typeface="Arial"/>
                <a:cs typeface="Arial"/>
                <a:sym typeface="Arial"/>
              </a:defRPr>
            </a:lvl2pPr>
            <a:lvl3pPr marR="0" lvl="2" algn="l" rtl="0">
              <a:spcBef>
                <a:spcPts val="0"/>
              </a:spcBef>
              <a:spcAft>
                <a:spcPts val="0"/>
              </a:spcAft>
              <a:buSzPts val="1100"/>
              <a:buNone/>
              <a:defRPr sz="5333" b="0" i="0" u="none" strike="noStrike" cap="none">
                <a:solidFill>
                  <a:schemeClr val="dk1"/>
                </a:solidFill>
                <a:latin typeface="Arial"/>
                <a:ea typeface="Arial"/>
                <a:cs typeface="Arial"/>
                <a:sym typeface="Arial"/>
              </a:defRPr>
            </a:lvl3pPr>
            <a:lvl4pPr marR="0" lvl="3" algn="l" rtl="0">
              <a:spcBef>
                <a:spcPts val="0"/>
              </a:spcBef>
              <a:spcAft>
                <a:spcPts val="0"/>
              </a:spcAft>
              <a:buSzPts val="1100"/>
              <a:buNone/>
              <a:defRPr sz="5333" b="0" i="0" u="none" strike="noStrike" cap="none">
                <a:solidFill>
                  <a:schemeClr val="dk1"/>
                </a:solidFill>
                <a:latin typeface="Arial"/>
                <a:ea typeface="Arial"/>
                <a:cs typeface="Arial"/>
                <a:sym typeface="Arial"/>
              </a:defRPr>
            </a:lvl4pPr>
            <a:lvl5pPr marR="0" lvl="4" algn="l" rtl="0">
              <a:spcBef>
                <a:spcPts val="0"/>
              </a:spcBef>
              <a:spcAft>
                <a:spcPts val="0"/>
              </a:spcAft>
              <a:buSzPts val="1100"/>
              <a:buNone/>
              <a:defRPr sz="5333" b="0" i="0" u="none" strike="noStrike" cap="none">
                <a:solidFill>
                  <a:schemeClr val="dk1"/>
                </a:solidFill>
                <a:latin typeface="Arial"/>
                <a:ea typeface="Arial"/>
                <a:cs typeface="Arial"/>
                <a:sym typeface="Arial"/>
              </a:defRPr>
            </a:lvl5pPr>
            <a:lvl6pPr marR="0" lvl="5" algn="l" rtl="0">
              <a:spcBef>
                <a:spcPts val="0"/>
              </a:spcBef>
              <a:spcAft>
                <a:spcPts val="0"/>
              </a:spcAft>
              <a:buSzPts val="1100"/>
              <a:buNone/>
              <a:defRPr sz="5333" b="0" i="0" u="none" strike="noStrike" cap="none">
                <a:solidFill>
                  <a:schemeClr val="dk1"/>
                </a:solidFill>
                <a:latin typeface="Arial"/>
                <a:ea typeface="Arial"/>
                <a:cs typeface="Arial"/>
                <a:sym typeface="Arial"/>
              </a:defRPr>
            </a:lvl6pPr>
            <a:lvl7pPr marR="0" lvl="6" algn="l" rtl="0">
              <a:spcBef>
                <a:spcPts val="0"/>
              </a:spcBef>
              <a:spcAft>
                <a:spcPts val="0"/>
              </a:spcAft>
              <a:buSzPts val="1100"/>
              <a:buNone/>
              <a:defRPr sz="5333" b="0" i="0" u="none" strike="noStrike" cap="none">
                <a:solidFill>
                  <a:schemeClr val="dk1"/>
                </a:solidFill>
                <a:latin typeface="Arial"/>
                <a:ea typeface="Arial"/>
                <a:cs typeface="Arial"/>
                <a:sym typeface="Arial"/>
              </a:defRPr>
            </a:lvl7pPr>
            <a:lvl8pPr marR="0" lvl="7" algn="l" rtl="0">
              <a:spcBef>
                <a:spcPts val="0"/>
              </a:spcBef>
              <a:spcAft>
                <a:spcPts val="0"/>
              </a:spcAft>
              <a:buSzPts val="1100"/>
              <a:buNone/>
              <a:defRPr sz="5333" b="0" i="0" u="none" strike="noStrike" cap="none">
                <a:solidFill>
                  <a:schemeClr val="dk1"/>
                </a:solidFill>
                <a:latin typeface="Arial"/>
                <a:ea typeface="Arial"/>
                <a:cs typeface="Arial"/>
                <a:sym typeface="Arial"/>
              </a:defRPr>
            </a:lvl8pPr>
            <a:lvl9pPr marR="0" lvl="8" algn="l" rtl="0">
              <a:spcBef>
                <a:spcPts val="0"/>
              </a:spcBef>
              <a:spcAft>
                <a:spcPts val="0"/>
              </a:spcAft>
              <a:buSzPts val="1100"/>
              <a:buNone/>
              <a:defRPr sz="5333" b="0" i="0" u="none" strike="noStrike" cap="none">
                <a:solidFill>
                  <a:schemeClr val="dk1"/>
                </a:solidFill>
                <a:latin typeface="Arial"/>
                <a:ea typeface="Arial"/>
                <a:cs typeface="Arial"/>
                <a:sym typeface="Arial"/>
              </a:defRPr>
            </a:lvl9pPr>
          </a:lstStyle>
          <a:p>
            <a:endParaRPr/>
          </a:p>
        </p:txBody>
      </p:sp>
      <p:sp>
        <p:nvSpPr>
          <p:cNvPr id="744" name="Google Shape;744;p52"/>
          <p:cNvSpPr txBox="1">
            <a:spLocks noGrp="1"/>
          </p:cNvSpPr>
          <p:nvPr>
            <p:ph type="sldNum" idx="12"/>
          </p:nvPr>
        </p:nvSpPr>
        <p:spPr>
          <a:xfrm>
            <a:off x="11754355" y="6446443"/>
            <a:ext cx="342800" cy="297200"/>
          </a:xfrm>
          <a:prstGeom prst="rect">
            <a:avLst/>
          </a:prstGeom>
          <a:noFill/>
          <a:ln>
            <a:noFill/>
          </a:ln>
        </p:spPr>
        <p:txBody>
          <a:bodyPr spcFirstLastPara="1" wrap="square" lIns="68575" tIns="34275" rIns="68575" bIns="34275" anchor="b" anchorCtr="0">
            <a:noAutofit/>
          </a:bodyPr>
          <a:lstStyle>
            <a:lvl1pPr marL="0" marR="0" lvl="0" indent="0" algn="r" rtl="0">
              <a:spcBef>
                <a:spcPts val="0"/>
              </a:spcBef>
              <a:buNone/>
              <a:defRPr sz="1067" b="0" i="0" u="none" strike="noStrike" cap="none">
                <a:solidFill>
                  <a:schemeClr val="lt1"/>
                </a:solidFill>
                <a:latin typeface="Calibri"/>
                <a:ea typeface="Calibri"/>
                <a:cs typeface="Calibri"/>
                <a:sym typeface="Calibri"/>
              </a:defRPr>
            </a:lvl1pPr>
            <a:lvl2pPr marL="0" marR="0" lvl="1" indent="0" algn="r" rtl="0">
              <a:spcBef>
                <a:spcPts val="0"/>
              </a:spcBef>
              <a:buNone/>
              <a:defRPr sz="1067" b="0" i="0" u="none" strike="noStrike" cap="none">
                <a:solidFill>
                  <a:schemeClr val="lt1"/>
                </a:solidFill>
                <a:latin typeface="Calibri"/>
                <a:ea typeface="Calibri"/>
                <a:cs typeface="Calibri"/>
                <a:sym typeface="Calibri"/>
              </a:defRPr>
            </a:lvl2pPr>
            <a:lvl3pPr marL="0" marR="0" lvl="2" indent="0" algn="r" rtl="0">
              <a:spcBef>
                <a:spcPts val="0"/>
              </a:spcBef>
              <a:buNone/>
              <a:defRPr sz="1067" b="0" i="0" u="none" strike="noStrike" cap="none">
                <a:solidFill>
                  <a:schemeClr val="lt1"/>
                </a:solidFill>
                <a:latin typeface="Calibri"/>
                <a:ea typeface="Calibri"/>
                <a:cs typeface="Calibri"/>
                <a:sym typeface="Calibri"/>
              </a:defRPr>
            </a:lvl3pPr>
            <a:lvl4pPr marL="0" marR="0" lvl="3" indent="0" algn="r" rtl="0">
              <a:spcBef>
                <a:spcPts val="0"/>
              </a:spcBef>
              <a:buNone/>
              <a:defRPr sz="1067" b="0" i="0" u="none" strike="noStrike" cap="none">
                <a:solidFill>
                  <a:schemeClr val="lt1"/>
                </a:solidFill>
                <a:latin typeface="Calibri"/>
                <a:ea typeface="Calibri"/>
                <a:cs typeface="Calibri"/>
                <a:sym typeface="Calibri"/>
              </a:defRPr>
            </a:lvl4pPr>
            <a:lvl5pPr marL="0" marR="0" lvl="4" indent="0" algn="r" rtl="0">
              <a:spcBef>
                <a:spcPts val="0"/>
              </a:spcBef>
              <a:buNone/>
              <a:defRPr sz="1067" b="0" i="0" u="none" strike="noStrike" cap="none">
                <a:solidFill>
                  <a:schemeClr val="lt1"/>
                </a:solidFill>
                <a:latin typeface="Calibri"/>
                <a:ea typeface="Calibri"/>
                <a:cs typeface="Calibri"/>
                <a:sym typeface="Calibri"/>
              </a:defRPr>
            </a:lvl5pPr>
            <a:lvl6pPr marL="0" marR="0" lvl="5" indent="0" algn="r" rtl="0">
              <a:spcBef>
                <a:spcPts val="0"/>
              </a:spcBef>
              <a:buNone/>
              <a:defRPr sz="1067" b="0" i="0" u="none" strike="noStrike" cap="none">
                <a:solidFill>
                  <a:schemeClr val="lt1"/>
                </a:solidFill>
                <a:latin typeface="Calibri"/>
                <a:ea typeface="Calibri"/>
                <a:cs typeface="Calibri"/>
                <a:sym typeface="Calibri"/>
              </a:defRPr>
            </a:lvl6pPr>
            <a:lvl7pPr marL="0" marR="0" lvl="6" indent="0" algn="r" rtl="0">
              <a:spcBef>
                <a:spcPts val="0"/>
              </a:spcBef>
              <a:buNone/>
              <a:defRPr sz="1067" b="0" i="0" u="none" strike="noStrike" cap="none">
                <a:solidFill>
                  <a:schemeClr val="lt1"/>
                </a:solidFill>
                <a:latin typeface="Calibri"/>
                <a:ea typeface="Calibri"/>
                <a:cs typeface="Calibri"/>
                <a:sym typeface="Calibri"/>
              </a:defRPr>
            </a:lvl7pPr>
            <a:lvl8pPr marL="0" marR="0" lvl="7" indent="0" algn="r" rtl="0">
              <a:spcBef>
                <a:spcPts val="0"/>
              </a:spcBef>
              <a:buNone/>
              <a:defRPr sz="1067" b="0" i="0" u="none" strike="noStrike" cap="none">
                <a:solidFill>
                  <a:schemeClr val="lt1"/>
                </a:solidFill>
                <a:latin typeface="Calibri"/>
                <a:ea typeface="Calibri"/>
                <a:cs typeface="Calibri"/>
                <a:sym typeface="Calibri"/>
              </a:defRPr>
            </a:lvl8pPr>
            <a:lvl9pPr marL="0" marR="0" lvl="8" indent="0" algn="r" rtl="0">
              <a:spcBef>
                <a:spcPts val="0"/>
              </a:spcBef>
              <a:buNone/>
              <a:defRPr sz="1067" b="0" i="0" u="none" strike="noStrike" cap="none">
                <a:solidFill>
                  <a:schemeClr val="lt1"/>
                </a:solidFill>
                <a:latin typeface="Calibri"/>
                <a:ea typeface="Calibri"/>
                <a:cs typeface="Calibri"/>
                <a:sym typeface="Calibri"/>
              </a:defRPr>
            </a:lvl9pPr>
          </a:lstStyle>
          <a:p>
            <a:fld id="{00000000-1234-1234-1234-123412341234}" type="slidenum">
              <a:rPr lang="uk-UA" smtClean="0"/>
              <a:pPr/>
              <a:t>‹#›</a:t>
            </a:fld>
            <a:endParaRPr lang="uk-UA"/>
          </a:p>
        </p:txBody>
      </p:sp>
      <p:pic>
        <p:nvPicPr>
          <p:cNvPr id="745" name="Google Shape;745;p52"/>
          <p:cNvPicPr preferRelativeResize="0"/>
          <p:nvPr/>
        </p:nvPicPr>
        <p:blipFill rotWithShape="1">
          <a:blip r:embed="rId2">
            <a:alphaModFix/>
          </a:blip>
          <a:srcRect/>
          <a:stretch/>
        </p:blipFill>
        <p:spPr>
          <a:xfrm>
            <a:off x="266343" y="6453827"/>
            <a:ext cx="1400675" cy="238115"/>
          </a:xfrm>
          <a:prstGeom prst="rect">
            <a:avLst/>
          </a:prstGeom>
          <a:noFill/>
          <a:ln>
            <a:noFill/>
          </a:ln>
        </p:spPr>
      </p:pic>
    </p:spTree>
    <p:extLst>
      <p:ext uri="{BB962C8B-B14F-4D97-AF65-F5344CB8AC3E}">
        <p14:creationId xmlns:p14="http://schemas.microsoft.com/office/powerpoint/2010/main" val="18220451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923187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8906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3920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2E16324-88F9-42DF-AA25-710FEC80B8ED}" type="datetimeFigureOut">
              <a:rPr lang="en-US" smtClean="0"/>
              <a:t>11/13/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F9D2FC-E4FF-4449-8A43-6AECF3601E4D}" type="slidenum">
              <a:rPr lang="en-US" smtClean="0"/>
              <a:t>‹#›</a:t>
            </a:fld>
            <a:endParaRPr lang="en-US"/>
          </a:p>
        </p:txBody>
      </p:sp>
    </p:spTree>
    <p:extLst>
      <p:ext uri="{BB962C8B-B14F-4D97-AF65-F5344CB8AC3E}">
        <p14:creationId xmlns:p14="http://schemas.microsoft.com/office/powerpoint/2010/main" val="38591799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2669383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1322950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317429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004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7910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7950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8044816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146998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2828394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45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936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510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97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6404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79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380561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8738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40168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482533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085289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70753825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47248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037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181178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8071316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2960144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51555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7028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129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58312768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025832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9250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4014743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786817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807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759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36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67053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4407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43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4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40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01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177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88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593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36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5355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7894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84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48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1058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4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85846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5435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155904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096005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70565089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86715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016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5323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70655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530998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446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322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1275997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483214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40129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0328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428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807919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6062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1643020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6292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778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74525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76870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2278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5.xml"/><Relationship Id="rId7" Type="http://schemas.openxmlformats.org/officeDocument/2006/relationships/image" Target="../media/image30.png"/><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theme" Target="../theme/theme10.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6" Type="http://schemas.openxmlformats.org/officeDocument/2006/relationships/image" Target="../media/image19.png"/><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theme" Target="../theme/theme11.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image" Target="../media/image1.emf"/><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theme" Target="../theme/theme12.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theme" Target="../theme/theme13.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5.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image" Target="../media/image19.png"/><Relationship Id="rId2" Type="http://schemas.openxmlformats.org/officeDocument/2006/relationships/slideLayout" Target="../slideLayouts/slideLayout142.xml"/><Relationship Id="rId16" Type="http://schemas.openxmlformats.org/officeDocument/2006/relationships/theme" Target="../theme/theme8.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theme" Target="../theme/theme9.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5779041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1" r:id="rId3"/>
    <p:sldLayoutId id="2147483962" r:id="rId4"/>
    <p:sldLayoutId id="2147483963"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346749"/>
      </p:ext>
    </p:extLst>
  </p:cSld>
  <p:clrMap bg1="lt1" tx1="dk1" bg2="lt2" tx2="dk2" accent1="accent1" accent2="accent2" accent3="accent3" accent4="accent4" accent5="accent5" accent6="accent6" hlink="hlink" folHlink="folHlink"/>
  <p:sldLayoutIdLst>
    <p:sldLayoutId id="2147483965" r:id="rId1"/>
    <p:sldLayoutId id="2147483967" r:id="rId2"/>
    <p:sldLayoutId id="2147483968" r:id="rId3"/>
    <p:sldLayoutId id="2147483969" r:id="rId4"/>
    <p:sldLayoutId id="2147483970" r:id="rId5"/>
    <p:sldLayoutId id="2147483971"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99583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4386799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5" r:id="rId4"/>
    <p:sldLayoutId id="2147483806" r:id="rId5"/>
    <p:sldLayoutId id="2147483807" r:id="rId6"/>
    <p:sldLayoutId id="2147483808" r:id="rId7"/>
    <p:sldLayoutId id="2147483810" r:id="rId8"/>
    <p:sldLayoutId id="2147483813" r:id="rId9"/>
    <p:sldLayoutId id="2147483814" r:id="rId10"/>
    <p:sldLayoutId id="2147483815" r:id="rId11"/>
    <p:sldLayoutId id="214748381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7" r:id="rId5"/>
    <p:sldLayoutId id="2147483888" r:id="rId6"/>
    <p:sldLayoutId id="2147483889"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47752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42.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8.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3.xml"/><Relationship Id="rId1" Type="http://schemas.openxmlformats.org/officeDocument/2006/relationships/slideLayout" Target="../slideLayouts/slideLayout152.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56.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hyperlink" Target="https://docs.microsoft.com/en-us/azure/hdinsight/kafka/apache-kafka-quickstart-resource-manager-template" TargetMode="External"/><Relationship Id="rId2" Type="http://schemas.openxmlformats.org/officeDocument/2006/relationships/image" Target="../media/image54.png"/><Relationship Id="rId1" Type="http://schemas.openxmlformats.org/officeDocument/2006/relationships/slideLayout" Target="../slideLayouts/slideLayout142.xml"/><Relationship Id="rId6" Type="http://schemas.openxmlformats.org/officeDocument/2006/relationships/hyperlink" Target="https://docs.microsoft.com/en-us/azure/hdinsight/kafka/apache-kafka-quickstart-powershell" TargetMode="External"/><Relationship Id="rId5" Type="http://schemas.openxmlformats.org/officeDocument/2006/relationships/hyperlink" Target="https://docs.microsoft.com/en-us/azure/hdinsight/kafka/apache-kafka-get-started" TargetMode="Externa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6" Type="http://schemas.openxmlformats.org/officeDocument/2006/relationships/image" Target="../media/image57.png"/><Relationship Id="rId5" Type="http://schemas.openxmlformats.org/officeDocument/2006/relationships/hyperlink" Target="https://docs.microsoft.com/en-us/azure/hdinsight/hdinsight-hadoop-customize-cluster-bootstrap?toc=/en-us/azure/hdinsight/kafka/TOC.json&amp;bc=/en-us/azure/bread/toc.json" TargetMode="Externa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hyperlink" Target="https://docs.microsoft.com/en-us/azure/hdinsight/hdinsight-apps-use-edge-node#add-an-edge-node-when-creating-a-cluster" TargetMode="Externa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5.sv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image" Target="../media/image54.png"/><Relationship Id="rId1" Type="http://schemas.openxmlformats.org/officeDocument/2006/relationships/slideLayout" Target="../slideLayouts/slideLayout142.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36.png"/><Relationship Id="rId9" Type="http://schemas.openxmlformats.org/officeDocument/2006/relationships/image" Target="../media/image63.emf"/></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42.xml"/><Relationship Id="rId5" Type="http://schemas.openxmlformats.org/officeDocument/2006/relationships/image" Target="../media/image36.png"/><Relationship Id="rId4" Type="http://schemas.openxmlformats.org/officeDocument/2006/relationships/image" Target="../media/image55.sv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8.png"/><Relationship Id="rId1" Type="http://schemas.openxmlformats.org/officeDocument/2006/relationships/slideLayout" Target="../slideLayouts/slideLayout142.xml"/><Relationship Id="rId5" Type="http://schemas.openxmlformats.org/officeDocument/2006/relationships/image" Target="../media/image36.png"/><Relationship Id="rId4" Type="http://schemas.openxmlformats.org/officeDocument/2006/relationships/image" Target="../media/image55.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3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69.pn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0.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1.png"/><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hyperlink" Target="http://kafka.apache.org/090/documentation.html#security_ssl" TargetMode="External"/><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72.png"/><Relationship Id="rId1" Type="http://schemas.openxmlformats.org/officeDocument/2006/relationships/slideLayout" Target="../slideLayouts/slideLayout146.xml"/><Relationship Id="rId5" Type="http://schemas.openxmlformats.org/officeDocument/2006/relationships/image" Target="../media/image36.png"/><Relationship Id="rId4" Type="http://schemas.openxmlformats.org/officeDocument/2006/relationships/image" Target="../media/image55.svg"/></Relationships>
</file>

<file path=ppt/slides/_rels/slide3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3.png"/><Relationship Id="rId4" Type="http://schemas.openxmlformats.org/officeDocument/2006/relationships/image" Target="../media/image36.png"/></Relationships>
</file>

<file path=ppt/slides/_rels/slide3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4.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hyperlink" Target="https://github.com/hdinsight/hdinsight-kafka-tools" TargetMode="External"/><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5.png"/><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hyperlink" Target="https://docs.microsoft.com/en-us/azure/hdinsight/hdinsight-hadoop-oms-log-analytics-use-queries?toc=/en-us/azure/hdinsight/r-server/TOC.json&amp;bc=/en-us/azure/bread/toc.json" TargetMode="External"/><Relationship Id="rId2" Type="http://schemas.openxmlformats.org/officeDocument/2006/relationships/image" Target="../media/image54.png"/><Relationship Id="rId1" Type="http://schemas.openxmlformats.org/officeDocument/2006/relationships/slideLayout" Target="../slideLayouts/slideLayout142.xml"/><Relationship Id="rId6" Type="http://schemas.openxmlformats.org/officeDocument/2006/relationships/hyperlink" Target="https://docs.microsoft.com/en-us/azure/hdinsight/hdinsight-hadoop-oms-log-analytics-tutorial?toc=/en-us/azure/hdinsight/r-server/TOC.json&amp;bc=/en-us/azure/bread/toc.json#install-hdinsight-cluster-management-solutions" TargetMode="External"/><Relationship Id="rId5" Type="http://schemas.openxmlformats.org/officeDocument/2006/relationships/hyperlink" Target="https://docs.microsoft.com/en-us/azure/hdinsight/hdinsight-hadoop-oms-log-analytics-tutorial?toc=/en-us/azure/hdinsight/r-server/TOC.json&amp;bc=/en-us/azure/bread/toc.json#enable-log-analytics-by-using-the-portal" TargetMode="External"/><Relationship Id="rId4" Type="http://schemas.openxmlformats.org/officeDocument/2006/relationships/image" Target="../media/image36.png"/></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142.xml"/><Relationship Id="rId6" Type="http://schemas.openxmlformats.org/officeDocument/2006/relationships/image" Target="../media/image76.png"/><Relationship Id="rId5" Type="http://schemas.openxmlformats.org/officeDocument/2006/relationships/image" Target="../media/image36.png"/><Relationship Id="rId4" Type="http://schemas.openxmlformats.org/officeDocument/2006/relationships/image" Target="../media/image55.svg"/></Relationships>
</file>

<file path=ppt/slides/_rels/slide4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45.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hyperlink" Target="https://docs.microsoft.com/en-us/azure/virtual-machines/linux/premium-storage#scalability-and-performance-targets" TargetMode="External"/><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53.xml"/><Relationship Id="rId5" Type="http://schemas.openxmlformats.org/officeDocument/2006/relationships/image" Target="../media/image36.png"/><Relationship Id="rId4" Type="http://schemas.openxmlformats.org/officeDocument/2006/relationships/image" Target="../media/image55.svg"/></Relationships>
</file>

<file path=ppt/slides/_rels/slide4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hyperlink" Target="https://docs.microsoft.com/en-us/azure/hdinsight/hdinsight-upgrade-cluster?toc=/en-us/azure/hdinsight/kafka/TOC.json&amp;bc=/en-us/azure/bread/toc.json" TargetMode="External"/><Relationship Id="rId4" Type="http://schemas.openxmlformats.org/officeDocument/2006/relationships/image" Target="../media/image36.png"/></Relationships>
</file>

<file path=ppt/slides/_rels/slide4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5" Type="http://schemas.openxmlformats.org/officeDocument/2006/relationships/image" Target="../media/image77.png"/><Relationship Id="rId4" Type="http://schemas.openxmlformats.org/officeDocument/2006/relationships/image" Target="../media/image36.png"/></Relationships>
</file>

<file path=ppt/slides/_rels/slide4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5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42.xml"/><Relationship Id="rId4" Type="http://schemas.openxmlformats.org/officeDocument/2006/relationships/image" Target="../media/image36.png"/></Relationships>
</file>

<file path=ppt/slides/_rels/slide51.xml.rels><?xml version="1.0" encoding="UTF-8" standalone="yes"?>
<Relationships xmlns="http://schemas.openxmlformats.org/package/2006/relationships"><Relationship Id="rId8" Type="http://schemas.openxmlformats.org/officeDocument/2006/relationships/hyperlink" Target="https://docs.microsoft.com/en-us/azure/hdinsight/kafka/apache-kafka-byok" TargetMode="External"/><Relationship Id="rId3" Type="http://schemas.openxmlformats.org/officeDocument/2006/relationships/image" Target="../media/image55.svg"/><Relationship Id="rId7" Type="http://schemas.openxmlformats.org/officeDocument/2006/relationships/hyperlink" Target="https://docs.microsoft.com/en-us/azure/hdinsight/kafka/apache-kafka-connector-iot-hub" TargetMode="External"/><Relationship Id="rId2" Type="http://schemas.openxmlformats.org/officeDocument/2006/relationships/image" Target="../media/image54.png"/><Relationship Id="rId1" Type="http://schemas.openxmlformats.org/officeDocument/2006/relationships/slideLayout" Target="../slideLayouts/slideLayout142.xml"/><Relationship Id="rId6" Type="http://schemas.openxmlformats.org/officeDocument/2006/relationships/hyperlink" Target="https://docs.microsoft.com/en-us/azure/hdinsight/kafka/apache-kafka-introduction" TargetMode="External"/><Relationship Id="rId11" Type="http://schemas.openxmlformats.org/officeDocument/2006/relationships/hyperlink" Target="https://azure.microsoft.com/en-us/blog/tag/hdinsight/" TargetMode="External"/><Relationship Id="rId5" Type="http://schemas.openxmlformats.org/officeDocument/2006/relationships/hyperlink" Target="https://azure.microsoft.com/en-us/services/hdinsight/" TargetMode="External"/><Relationship Id="rId10" Type="http://schemas.openxmlformats.org/officeDocument/2006/relationships/hyperlink" Target="https://docs.microsoft.com/en-us/azure/hdinsight/domain-joined/apache-domain-joined-run-kafka" TargetMode="External"/><Relationship Id="rId4" Type="http://schemas.openxmlformats.org/officeDocument/2006/relationships/image" Target="../media/image36.png"/><Relationship Id="rId9" Type="http://schemas.openxmlformats.org/officeDocument/2006/relationships/hyperlink" Target="https://docs.microsoft.com/en-us/azure/hdinsight/domain-joined/apache-domain-joined-configure-using-azure-adds"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42.xml"/><Relationship Id="rId4" Type="http://schemas.openxmlformats.org/officeDocument/2006/relationships/hyperlink" Target="https://azure.microsoft.com/en-us/blog/announcing-public-preview-of-apache-kafka-on-hdinsight-with-azure-managed-disks"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9.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154.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emf"/><Relationship Id="rId4" Type="http://schemas.openxmlformats.org/officeDocument/2006/relationships/image" Target="../media/image80.emf"/><Relationship Id="rId9" Type="http://schemas.openxmlformats.org/officeDocument/2006/relationships/image" Target="../media/image85.emf"/></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155.xml"/><Relationship Id="rId5" Type="http://schemas.openxmlformats.org/officeDocument/2006/relationships/chart" Target="../charts/chart2.xml"/><Relationship Id="rId4" Type="http://schemas.openxmlformats.org/officeDocument/2006/relationships/chart" Target="../charts/char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2.xml"/></Relationships>
</file>

<file path=ppt/slides/_rels/slide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142.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476131" y="1692300"/>
            <a:ext cx="10664309" cy="3905487"/>
          </a:xfrm>
        </p:spPr>
        <p:txBody>
          <a:bodyPr lIns="0" tIns="0" rIns="0" bIns="0" anchor="b">
            <a:noAutofit/>
          </a:bodyPr>
          <a:lstStyle/>
          <a:p>
            <a:pPr>
              <a:lnSpc>
                <a:spcPct val="100000"/>
              </a:lnSpc>
              <a:spcBef>
                <a:spcPts val="0"/>
              </a:spcBef>
              <a:spcAft>
                <a:spcPts val="2000"/>
              </a:spcAft>
            </a:pPr>
            <a:br>
              <a:rPr lang="en-US" sz="5400" cap="none" spc="100" dirty="0">
                <a:latin typeface="+mj-lt"/>
                <a:cs typeface="Segoe UI Semibold" charset="0"/>
              </a:rPr>
            </a:br>
            <a:r>
              <a:rPr lang="en-US" sz="5400" cap="none" spc="100" dirty="0">
                <a:latin typeface="+mj-lt"/>
                <a:cs typeface="Segoe UI Semibold" charset="0"/>
              </a:rPr>
              <a:t>Kafka on Azure</a:t>
            </a:r>
            <a:br>
              <a:rPr lang="en-US" sz="5400" cap="none" spc="100" dirty="0">
                <a:latin typeface="+mj-lt"/>
                <a:cs typeface="Segoe UI Semibold" charset="0"/>
              </a:rPr>
            </a:br>
            <a:r>
              <a:rPr lang="en-US" sz="2800" cap="none" spc="100" dirty="0">
                <a:latin typeface="+mj-lt"/>
                <a:cs typeface="Segoe UI Semibold" charset="0"/>
              </a:rPr>
              <a:t>Options and considerations</a:t>
            </a:r>
            <a:br>
              <a:rPr lang="en-US" sz="5400" cap="none" spc="100" dirty="0">
                <a:latin typeface="+mj-lt"/>
                <a:cs typeface="Segoe UI Semibold" charset="0"/>
              </a:rPr>
            </a:br>
            <a:br>
              <a:rPr lang="en-US" sz="5400" cap="none" spc="100" dirty="0">
                <a:latin typeface="+mj-lt"/>
                <a:cs typeface="Segoe UI Semibold" charset="0"/>
              </a:rPr>
            </a:br>
            <a:br>
              <a:rPr lang="en-US" sz="4000" cap="none" spc="100" dirty="0">
                <a:latin typeface="+mj-lt"/>
                <a:cs typeface="Segoe UI Semibold" charset="0"/>
              </a:rPr>
            </a:br>
            <a:r>
              <a:rPr lang="en-US" sz="1800" cap="none" spc="100" dirty="0">
                <a:latin typeface="+mj-lt"/>
                <a:cs typeface="Segoe UI Semibold" charset="0"/>
              </a:rPr>
              <a:t>Anagha Khanolkar</a:t>
            </a:r>
            <a:br>
              <a:rPr lang="en-US" sz="2800" cap="none" spc="100" dirty="0">
                <a:latin typeface="+mj-lt"/>
                <a:cs typeface="Segoe UI Semibold" charset="0"/>
              </a:rPr>
            </a:br>
            <a:r>
              <a:rPr lang="en-US" sz="1100" spc="100" dirty="0"/>
              <a:t>Cloud Solution Architect, Advanced Analytics &amp; AI</a:t>
            </a: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Confluent REST proxy</a:t>
            </a:r>
            <a:br>
              <a:rPr lang="en-US" dirty="0"/>
            </a:br>
            <a:r>
              <a:rPr lang="en-US" sz="900" dirty="0"/>
              <a:t>                                                                </a:t>
            </a:r>
            <a:r>
              <a:rPr lang="en-US" sz="2800" dirty="0">
                <a:solidFill>
                  <a:schemeClr val="tx1"/>
                </a:solidFill>
              </a:rPr>
              <a:t>Value proposition</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br>
              <a:rPr lang="en-US" dirty="0"/>
            </a:b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sp>
        <p:nvSpPr>
          <p:cNvPr id="6" name="TextBox 5">
            <a:extLst>
              <a:ext uri="{FF2B5EF4-FFF2-40B4-BE49-F238E27FC236}">
                <a16:creationId xmlns:a16="http://schemas.microsoft.com/office/drawing/2014/main" id="{506A6ABA-C428-9044-8630-52BA921680D4}"/>
              </a:ext>
            </a:extLst>
          </p:cNvPr>
          <p:cNvSpPr txBox="1"/>
          <p:nvPr/>
        </p:nvSpPr>
        <p:spPr>
          <a:xfrm>
            <a:off x="268079" y="1308148"/>
            <a:ext cx="4793778" cy="4668970"/>
          </a:xfrm>
          <a:prstGeom prst="rect">
            <a:avLst/>
          </a:prstGeom>
          <a:noFill/>
        </p:spPr>
        <p:txBody>
          <a:bodyPr wrap="square" lIns="182880" tIns="146304" rIns="182880" bIns="146304" rtlCol="0">
            <a:spAutoFit/>
          </a:bodyPr>
          <a:lstStyle>
            <a:defPPr>
              <a:defRPr lang="en-US"/>
            </a:defPPr>
            <a:lvl1pPr marL="342900" indent="-342900">
              <a:lnSpc>
                <a:spcPct val="90000"/>
              </a:lnSpc>
              <a:spcAft>
                <a:spcPts val="600"/>
              </a:spcAft>
              <a:buFont typeface="Wingdings" pitchFamily="2" charset="2"/>
              <a:buChar char="§"/>
              <a:defRPr sz="2400">
                <a:gradFill>
                  <a:gsLst>
                    <a:gs pos="2917">
                      <a:schemeClr val="tx1"/>
                    </a:gs>
                    <a:gs pos="30000">
                      <a:schemeClr val="tx1"/>
                    </a:gs>
                  </a:gsLst>
                  <a:lin ang="5400000" scaled="0"/>
                </a:gradFill>
              </a:defRPr>
            </a:lvl1pPr>
          </a:lstStyle>
          <a:p>
            <a:r>
              <a:rPr lang="en" dirty="0">
                <a:sym typeface="Roboto"/>
              </a:rPr>
              <a:t>Provides universal access to Kafka from any network connected device via HTTP</a:t>
            </a:r>
          </a:p>
          <a:p>
            <a:r>
              <a:rPr lang="en" dirty="0">
                <a:sym typeface="Roboto"/>
              </a:rPr>
              <a:t>Is a Confluent Open Source service</a:t>
            </a:r>
          </a:p>
          <a:p>
            <a:r>
              <a:rPr lang="en" dirty="0">
                <a:sym typeface="Roboto"/>
              </a:rPr>
              <a:t>Can be installed on any Kafka cluster</a:t>
            </a:r>
          </a:p>
          <a:p>
            <a:r>
              <a:rPr lang="en" dirty="0">
                <a:sym typeface="Roboto"/>
              </a:rPr>
              <a:t>Dedicated instances recommended for production/high usage scenarios</a:t>
            </a:r>
          </a:p>
          <a:p>
            <a:r>
              <a:rPr lang="en" dirty="0">
                <a:sym typeface="Roboto"/>
              </a:rPr>
              <a:t>Horizontally scalable</a:t>
            </a:r>
          </a:p>
          <a:p>
            <a:r>
              <a:rPr lang="en" dirty="0">
                <a:sym typeface="Roboto"/>
              </a:rPr>
              <a:t>Bring your own load balancer</a:t>
            </a:r>
          </a:p>
        </p:txBody>
      </p:sp>
      <p:pic>
        <p:nvPicPr>
          <p:cNvPr id="4" name="Picture 3">
            <a:extLst>
              <a:ext uri="{FF2B5EF4-FFF2-40B4-BE49-F238E27FC236}">
                <a16:creationId xmlns:a16="http://schemas.microsoft.com/office/drawing/2014/main" id="{27326E20-D905-BF47-9E88-82288BF59239}"/>
              </a:ext>
            </a:extLst>
          </p:cNvPr>
          <p:cNvPicPr>
            <a:picLocks noChangeAspect="1"/>
          </p:cNvPicPr>
          <p:nvPr/>
        </p:nvPicPr>
        <p:blipFill>
          <a:blip r:embed="rId3"/>
          <a:stretch>
            <a:fillRect/>
          </a:stretch>
        </p:blipFill>
        <p:spPr>
          <a:xfrm>
            <a:off x="4844143" y="827621"/>
            <a:ext cx="5450644" cy="4079519"/>
          </a:xfrm>
          <a:prstGeom prst="rect">
            <a:avLst/>
          </a:prstGeom>
        </p:spPr>
      </p:pic>
      <p:sp>
        <p:nvSpPr>
          <p:cNvPr id="7" name="Rectangle 6">
            <a:extLst>
              <a:ext uri="{FF2B5EF4-FFF2-40B4-BE49-F238E27FC236}">
                <a16:creationId xmlns:a16="http://schemas.microsoft.com/office/drawing/2014/main" id="{DE67D55F-3E7E-DF4F-BD77-6A4E6106CA15}"/>
              </a:ext>
            </a:extLst>
          </p:cNvPr>
          <p:cNvSpPr/>
          <p:nvPr/>
        </p:nvSpPr>
        <p:spPr>
          <a:xfrm>
            <a:off x="8783834" y="4697084"/>
            <a:ext cx="1151277" cy="230832"/>
          </a:xfrm>
          <a:prstGeom prst="rect">
            <a:avLst/>
          </a:prstGeom>
        </p:spPr>
        <p:txBody>
          <a:bodyPr wrap="none">
            <a:spAutoFit/>
          </a:bodyPr>
          <a:lstStyle/>
          <a:p>
            <a:r>
              <a:rPr lang="en-US" sz="900" dirty="0">
                <a:gradFill>
                  <a:gsLst>
                    <a:gs pos="2917">
                      <a:schemeClr val="tx1"/>
                    </a:gs>
                    <a:gs pos="30000">
                      <a:schemeClr val="tx1"/>
                    </a:gs>
                  </a:gsLst>
                  <a:lin ang="5400000" scaled="0"/>
                </a:gradFill>
              </a:rPr>
              <a:t>Courtesy - Confluent</a:t>
            </a:r>
            <a:endParaRPr lang="en-US" sz="900" dirty="0"/>
          </a:p>
        </p:txBody>
      </p:sp>
    </p:spTree>
    <p:extLst>
      <p:ext uri="{BB962C8B-B14F-4D97-AF65-F5344CB8AC3E}">
        <p14:creationId xmlns:p14="http://schemas.microsoft.com/office/powerpoint/2010/main" val="20578981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313072"/>
            <a:ext cx="11655840" cy="899665"/>
          </a:xfrm>
        </p:spPr>
        <p:txBody>
          <a:bodyPr/>
          <a:lstStyle/>
          <a:p>
            <a:r>
              <a:rPr lang="en-US" dirty="0"/>
              <a:t>       Avro</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365212"/>
            <a:ext cx="11348137" cy="577388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
            </a:pPr>
            <a:r>
              <a:rPr lang="en-US" dirty="0"/>
              <a:t>Avro is an efficient data serialization system in the big data space</a:t>
            </a:r>
          </a:p>
          <a:p>
            <a:pPr>
              <a:buFont typeface="Wingdings" pitchFamily="2" charset="2"/>
              <a:buChar char="§"/>
            </a:pPr>
            <a:r>
              <a:rPr lang="en-US" dirty="0"/>
              <a:t>Avro format is a typed, self-describing persistence format, with schema evolution and schema resolution support, is binary, space efficient and query efficient</a:t>
            </a:r>
          </a:p>
          <a:p>
            <a:pPr>
              <a:buFont typeface="Wingdings" pitchFamily="2" charset="2"/>
              <a:buChar char="§"/>
            </a:pPr>
            <a:r>
              <a:rPr lang="en-US" dirty="0"/>
              <a:t>In Hadoop – </a:t>
            </a:r>
            <a:r>
              <a:rPr lang="en-US" dirty="0" err="1"/>
              <a:t>avro</a:t>
            </a:r>
            <a:r>
              <a:rPr lang="en-US" dirty="0"/>
              <a:t> is </a:t>
            </a:r>
            <a:r>
              <a:rPr lang="en-US" dirty="0" err="1"/>
              <a:t>defacto</a:t>
            </a:r>
            <a:r>
              <a:rPr lang="en-US" dirty="0"/>
              <a:t> where reads span the entire row</a:t>
            </a:r>
          </a:p>
          <a:p>
            <a:pPr>
              <a:buFont typeface="Wingdings" pitchFamily="2" charset="2"/>
              <a:buChar char="§"/>
            </a:pPr>
            <a:r>
              <a:rPr lang="en-US" dirty="0"/>
              <a:t>Avro schema (</a:t>
            </a:r>
            <a:r>
              <a:rPr lang="en-US" dirty="0" err="1"/>
              <a:t>json</a:t>
            </a:r>
            <a:r>
              <a:rPr lang="en-US" dirty="0"/>
              <a:t>) defines structure of Avro data</a:t>
            </a:r>
          </a:p>
          <a:p>
            <a:pPr>
              <a:buFont typeface="Wingdings" pitchFamily="2" charset="2"/>
              <a:buChar char="§"/>
            </a:pPr>
            <a:endParaRPr lang="en-US" dirty="0"/>
          </a:p>
          <a:p>
            <a:pPr>
              <a:buFont typeface="Wingdings" pitchFamily="2" charset="2"/>
              <a:buChar char="§"/>
            </a:pPr>
            <a:r>
              <a:rPr lang="en-US" dirty="0"/>
              <a:t>In </a:t>
            </a:r>
            <a:r>
              <a:rPr lang="en-US" b="1" dirty="0"/>
              <a:t>Confluent</a:t>
            </a:r>
            <a:r>
              <a:rPr lang="en-US" dirty="0"/>
              <a:t> shops, its common to see Avro in use for </a:t>
            </a:r>
            <a:br>
              <a:rPr lang="en-US" dirty="0"/>
            </a:br>
            <a:r>
              <a:rPr lang="en-US" dirty="0"/>
              <a:t>message format</a:t>
            </a:r>
          </a:p>
          <a:p>
            <a:pPr>
              <a:buFont typeface="Wingdings" pitchFamily="2" charset="2"/>
              <a:buChar char="§"/>
            </a:pPr>
            <a:r>
              <a:rPr lang="en-US" dirty="0"/>
              <a:t>Avro is the only supported format with Confluent’s</a:t>
            </a:r>
            <a:br>
              <a:rPr lang="en-US" dirty="0"/>
            </a:br>
            <a:r>
              <a:rPr lang="en-US" dirty="0"/>
              <a:t>Avro schema registry</a:t>
            </a:r>
          </a:p>
          <a:p>
            <a:pPr marL="0" indent="0">
              <a:buNone/>
            </a:pP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4" name="Picture 3">
            <a:extLst>
              <a:ext uri="{FF2B5EF4-FFF2-40B4-BE49-F238E27FC236}">
                <a16:creationId xmlns:a16="http://schemas.microsoft.com/office/drawing/2014/main" id="{FCC45314-63F7-DB42-B9CE-B2BA1F7F95CE}"/>
              </a:ext>
            </a:extLst>
          </p:cNvPr>
          <p:cNvPicPr>
            <a:picLocks noChangeAspect="1"/>
          </p:cNvPicPr>
          <p:nvPr/>
        </p:nvPicPr>
        <p:blipFill>
          <a:blip r:embed="rId3"/>
          <a:stretch>
            <a:fillRect/>
          </a:stretch>
        </p:blipFill>
        <p:spPr>
          <a:xfrm>
            <a:off x="8971849" y="3596756"/>
            <a:ext cx="2684030" cy="2948172"/>
          </a:xfrm>
          <a:prstGeom prst="rect">
            <a:avLst/>
          </a:prstGeom>
        </p:spPr>
      </p:pic>
    </p:spTree>
    <p:extLst>
      <p:ext uri="{BB962C8B-B14F-4D97-AF65-F5344CB8AC3E}">
        <p14:creationId xmlns:p14="http://schemas.microsoft.com/office/powerpoint/2010/main" val="32312529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Confluent Schema registry</a:t>
            </a:r>
            <a:br>
              <a:rPr lang="en-US" dirty="0"/>
            </a:br>
            <a:r>
              <a:rPr lang="en-US" sz="900" dirty="0"/>
              <a:t>                                                                </a:t>
            </a:r>
            <a:r>
              <a:rPr lang="en-US" sz="2800" dirty="0">
                <a:solidFill>
                  <a:schemeClr val="tx1"/>
                </a:solidFill>
              </a:rPr>
              <a:t>About</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448122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
            </a:pPr>
            <a:r>
              <a:rPr lang="en-US" b="1" dirty="0"/>
              <a:t>Schema registry provides centralized management of schemas</a:t>
            </a:r>
            <a:br>
              <a:rPr lang="en-US" b="1" dirty="0"/>
            </a:br>
            <a:r>
              <a:rPr lang="en-US" b="1" dirty="0"/>
              <a:t>– </a:t>
            </a:r>
            <a:r>
              <a:rPr lang="en-US" dirty="0"/>
              <a:t>Stores a versioned history of all schemas</a:t>
            </a:r>
            <a:br>
              <a:rPr lang="en-US" dirty="0"/>
            </a:br>
            <a:r>
              <a:rPr lang="en-US" b="1" dirty="0"/>
              <a:t>– </a:t>
            </a:r>
            <a:r>
              <a:rPr lang="en-US" dirty="0"/>
              <a:t>Provides a RESTful interface + command line tools for storing and retrieving Avro schemas</a:t>
            </a:r>
            <a:br>
              <a:rPr lang="en-US" dirty="0"/>
            </a:br>
            <a:r>
              <a:rPr lang="en-US" dirty="0"/>
              <a:t>– Producers and consumers transparently interact with schema registry minimally</a:t>
            </a:r>
            <a:br>
              <a:rPr lang="en-US" dirty="0"/>
            </a:br>
            <a:r>
              <a:rPr lang="en-US" b="1" dirty="0"/>
              <a:t>– </a:t>
            </a:r>
            <a:r>
              <a:rPr lang="en-US" dirty="0"/>
              <a:t>A globally unique ID representing the Avro schema is sent with each message; Producers serialize data and prepend the schema ID; Consumers use the schema ID to deserialize the data</a:t>
            </a:r>
          </a:p>
          <a:p>
            <a:pPr marL="0" indent="0">
              <a:buNone/>
            </a:pP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sp>
        <p:nvSpPr>
          <p:cNvPr id="4" name="TextBox 3">
            <a:extLst>
              <a:ext uri="{FF2B5EF4-FFF2-40B4-BE49-F238E27FC236}">
                <a16:creationId xmlns:a16="http://schemas.microsoft.com/office/drawing/2014/main" id="{56CABB27-ADEA-3847-8623-D04CD9616604}"/>
              </a:ext>
            </a:extLst>
          </p:cNvPr>
          <p:cNvSpPr txBox="1"/>
          <p:nvPr/>
        </p:nvSpPr>
        <p:spPr>
          <a:xfrm>
            <a:off x="7291976" y="6346643"/>
            <a:ext cx="648106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6">
                    <a:lumMod val="60000"/>
                    <a:lumOff val="40000"/>
                  </a:schemeClr>
                </a:solidFill>
              </a:rPr>
              <a:t>Confluent offering (open source and Enterprise)</a:t>
            </a:r>
          </a:p>
        </p:txBody>
      </p:sp>
    </p:spTree>
    <p:extLst>
      <p:ext uri="{BB962C8B-B14F-4D97-AF65-F5344CB8AC3E}">
        <p14:creationId xmlns:p14="http://schemas.microsoft.com/office/powerpoint/2010/main" val="11524025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Confluent Schema registry</a:t>
            </a:r>
            <a:br>
              <a:rPr lang="en-US" dirty="0"/>
            </a:br>
            <a:r>
              <a:rPr lang="en-US" sz="900" dirty="0"/>
              <a:t>                                                                </a:t>
            </a:r>
            <a:r>
              <a:rPr lang="en-US" sz="2800" dirty="0">
                <a:solidFill>
                  <a:schemeClr val="tx1"/>
                </a:solidFill>
              </a:rPr>
              <a:t>About</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308148"/>
            <a:ext cx="11348137" cy="534300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
            </a:pPr>
            <a:r>
              <a:rPr lang="en-US" b="1" dirty="0"/>
              <a:t>Consumers use the schema ID to deserialize the data</a:t>
            </a:r>
          </a:p>
          <a:p>
            <a:pPr marL="0" indent="0">
              <a:buNone/>
            </a:pPr>
            <a:r>
              <a:rPr lang="en-US" b="1" dirty="0"/>
              <a:t>– </a:t>
            </a:r>
            <a:r>
              <a:rPr lang="en-US" dirty="0"/>
              <a:t>Schema Registry communication is only on the first message of a new schema </a:t>
            </a:r>
          </a:p>
          <a:p>
            <a:pPr marL="0" indent="0">
              <a:buNone/>
            </a:pPr>
            <a:r>
              <a:rPr lang="en-US" b="1" dirty="0"/>
              <a:t>– </a:t>
            </a:r>
            <a:r>
              <a:rPr lang="en-US" dirty="0"/>
              <a:t>Producers and Consumers cache the schema/ID mapping for future messages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a:buFont typeface="Wingdings" pitchFamily="2" charset="2"/>
              <a:buChar char="§"/>
            </a:pPr>
            <a:r>
              <a:rPr lang="en-US" b="1" dirty="0">
                <a:solidFill>
                  <a:schemeClr val="tx1"/>
                </a:solidFill>
              </a:rPr>
              <a:t>Can be made HA</a:t>
            </a:r>
            <a:r>
              <a:rPr lang="en-US" dirty="0"/>
              <a:t> with single master architecture.  In a high traffic scenario, </a:t>
            </a:r>
            <a:r>
              <a:rPr lang="en-US" b="1" dirty="0"/>
              <a:t>deploy on a separate node</a:t>
            </a:r>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4" name="Picture 3">
            <a:extLst>
              <a:ext uri="{FF2B5EF4-FFF2-40B4-BE49-F238E27FC236}">
                <a16:creationId xmlns:a16="http://schemas.microsoft.com/office/drawing/2014/main" id="{FC723207-DEB3-AE45-B559-E008EF94C63A}"/>
              </a:ext>
            </a:extLst>
          </p:cNvPr>
          <p:cNvPicPr>
            <a:picLocks noChangeAspect="1"/>
          </p:cNvPicPr>
          <p:nvPr/>
        </p:nvPicPr>
        <p:blipFill>
          <a:blip r:embed="rId3"/>
          <a:stretch>
            <a:fillRect/>
          </a:stretch>
        </p:blipFill>
        <p:spPr>
          <a:xfrm>
            <a:off x="3167743" y="3257612"/>
            <a:ext cx="5243603" cy="2096102"/>
          </a:xfrm>
          <a:prstGeom prst="rect">
            <a:avLst/>
          </a:prstGeom>
        </p:spPr>
      </p:pic>
    </p:spTree>
    <p:extLst>
      <p:ext uri="{BB962C8B-B14F-4D97-AF65-F5344CB8AC3E}">
        <p14:creationId xmlns:p14="http://schemas.microsoft.com/office/powerpoint/2010/main" val="18422206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Confluent Schema registry</a:t>
            </a:r>
            <a:br>
              <a:rPr lang="en-US" dirty="0"/>
            </a:br>
            <a:r>
              <a:rPr lang="en-US" sz="900" dirty="0"/>
              <a:t>                                                                </a:t>
            </a:r>
            <a:r>
              <a:rPr lang="en-US" sz="2800" dirty="0">
                <a:solidFill>
                  <a:schemeClr val="tx1"/>
                </a:solidFill>
              </a:rPr>
              <a:t>What do I need to do in my code?</a:t>
            </a:r>
            <a:endParaRPr lang="en-US" dirty="0">
              <a:solidFill>
                <a:schemeClr val="tx1"/>
              </a:solidFill>
            </a:endParaRPr>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6" name="Picture 5">
            <a:extLst>
              <a:ext uri="{FF2B5EF4-FFF2-40B4-BE49-F238E27FC236}">
                <a16:creationId xmlns:a16="http://schemas.microsoft.com/office/drawing/2014/main" id="{5ACC10EF-28E7-DC47-A3D4-5B6E0F229F7A}"/>
              </a:ext>
            </a:extLst>
          </p:cNvPr>
          <p:cNvPicPr>
            <a:picLocks noChangeAspect="1"/>
          </p:cNvPicPr>
          <p:nvPr/>
        </p:nvPicPr>
        <p:blipFill>
          <a:blip r:embed="rId3"/>
          <a:stretch>
            <a:fillRect/>
          </a:stretch>
        </p:blipFill>
        <p:spPr>
          <a:xfrm>
            <a:off x="414981" y="1523952"/>
            <a:ext cx="8761364" cy="4629713"/>
          </a:xfrm>
          <a:prstGeom prst="rect">
            <a:avLst/>
          </a:prstGeom>
        </p:spPr>
      </p:pic>
      <p:sp>
        <p:nvSpPr>
          <p:cNvPr id="7" name="TextBox 6">
            <a:extLst>
              <a:ext uri="{FF2B5EF4-FFF2-40B4-BE49-F238E27FC236}">
                <a16:creationId xmlns:a16="http://schemas.microsoft.com/office/drawing/2014/main" id="{B9EB3046-C67D-0D46-8E04-068E9CED8EE5}"/>
              </a:ext>
            </a:extLst>
          </p:cNvPr>
          <p:cNvSpPr txBox="1"/>
          <p:nvPr/>
        </p:nvSpPr>
        <p:spPr>
          <a:xfrm>
            <a:off x="6861768" y="6030824"/>
            <a:ext cx="5062151"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ample – courtesy Confluent</a:t>
            </a:r>
          </a:p>
        </p:txBody>
      </p:sp>
    </p:spTree>
    <p:extLst>
      <p:ext uri="{BB962C8B-B14F-4D97-AF65-F5344CB8AC3E}">
        <p14:creationId xmlns:p14="http://schemas.microsoft.com/office/powerpoint/2010/main" val="30151830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Confluent Schema registry</a:t>
            </a:r>
            <a:br>
              <a:rPr lang="en-US" dirty="0"/>
            </a:br>
            <a:r>
              <a:rPr lang="en-US" sz="900" dirty="0"/>
              <a:t>                                                                </a:t>
            </a:r>
            <a:r>
              <a:rPr lang="en-US" sz="2800" dirty="0">
                <a:solidFill>
                  <a:schemeClr val="tx1"/>
                </a:solidFill>
              </a:rPr>
              <a:t>FAQ</a:t>
            </a:r>
            <a:endParaRPr lang="en-US" dirty="0">
              <a:solidFill>
                <a:schemeClr val="tx1"/>
              </a:solidFill>
            </a:endParaRPr>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sp>
        <p:nvSpPr>
          <p:cNvPr id="7" name="TextBox 6">
            <a:extLst>
              <a:ext uri="{FF2B5EF4-FFF2-40B4-BE49-F238E27FC236}">
                <a16:creationId xmlns:a16="http://schemas.microsoft.com/office/drawing/2014/main" id="{B9EB3046-C67D-0D46-8E04-068E9CED8EE5}"/>
              </a:ext>
            </a:extLst>
          </p:cNvPr>
          <p:cNvSpPr txBox="1"/>
          <p:nvPr/>
        </p:nvSpPr>
        <p:spPr>
          <a:xfrm>
            <a:off x="6861768" y="6030824"/>
            <a:ext cx="5062151"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ample – courtesy Confluent</a:t>
            </a:r>
          </a:p>
        </p:txBody>
      </p:sp>
      <p:sp>
        <p:nvSpPr>
          <p:cNvPr id="8" name="Text Placeholder 4">
            <a:extLst>
              <a:ext uri="{FF2B5EF4-FFF2-40B4-BE49-F238E27FC236}">
                <a16:creationId xmlns:a16="http://schemas.microsoft.com/office/drawing/2014/main" id="{54040A44-7584-F342-B0B7-4543986D9B13}"/>
              </a:ext>
            </a:extLst>
          </p:cNvPr>
          <p:cNvSpPr txBox="1">
            <a:spLocks/>
          </p:cNvSpPr>
          <p:nvPr/>
        </p:nvSpPr>
        <p:spPr>
          <a:xfrm>
            <a:off x="421930" y="1548407"/>
            <a:ext cx="11348137" cy="439504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
            </a:pPr>
            <a:r>
              <a:rPr lang="en-US" b="1" dirty="0"/>
              <a:t>Can we live without the </a:t>
            </a:r>
            <a:r>
              <a:rPr lang="en-US" b="1" dirty="0" err="1"/>
              <a:t>avro</a:t>
            </a:r>
            <a:r>
              <a:rPr lang="en-US" b="1" dirty="0"/>
              <a:t> schema registry? </a:t>
            </a:r>
            <a:r>
              <a:rPr lang="en-US" dirty="0"/>
              <a:t>Absolutely</a:t>
            </a:r>
          </a:p>
          <a:p>
            <a:pPr>
              <a:buFont typeface="Wingdings" pitchFamily="2" charset="2"/>
              <a:buChar char="§"/>
            </a:pPr>
            <a:r>
              <a:rPr lang="en-US" b="1" dirty="0"/>
              <a:t>Other registry solutions? </a:t>
            </a:r>
            <a:r>
              <a:rPr lang="en-US" dirty="0"/>
              <a:t>Are available</a:t>
            </a:r>
          </a:p>
          <a:p>
            <a:pPr>
              <a:buFont typeface="Wingdings" pitchFamily="2" charset="2"/>
              <a:buChar char="§"/>
            </a:pPr>
            <a:r>
              <a:rPr lang="en-US" b="1" dirty="0"/>
              <a:t>Can the Confluent Avro schema registry be installed on any Kafka cluster?</a:t>
            </a:r>
            <a:r>
              <a:rPr lang="en-US" dirty="0"/>
              <a:t>  Its been tried and has been successful</a:t>
            </a:r>
          </a:p>
          <a:p>
            <a:pPr marL="0" indent="0">
              <a:buNone/>
            </a:pPr>
            <a:endParaRPr lang="en-US" dirty="0"/>
          </a:p>
          <a:p>
            <a:pPr marL="0" indent="0">
              <a:buNone/>
            </a:pPr>
            <a:br>
              <a:rPr lang="en-US" dirty="0"/>
            </a:b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99855947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Log compaction</a:t>
            </a:r>
            <a:br>
              <a:rPr lang="en-US" dirty="0"/>
            </a:br>
            <a:r>
              <a:rPr lang="en-US" sz="900" dirty="0"/>
              <a:t>                                                                </a:t>
            </a:r>
            <a:r>
              <a:rPr lang="en-US" sz="2800" dirty="0">
                <a:solidFill>
                  <a:schemeClr val="tx1"/>
                </a:solidFill>
              </a:rPr>
              <a:t>About</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br>
              <a:rPr lang="en-US" dirty="0"/>
            </a:b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3"/>
          <a:stretch>
            <a:fillRect/>
          </a:stretch>
        </p:blipFill>
        <p:spPr>
          <a:xfrm>
            <a:off x="268079" y="139748"/>
            <a:ext cx="749300" cy="1168400"/>
          </a:xfrm>
          <a:prstGeom prst="rect">
            <a:avLst/>
          </a:prstGeom>
        </p:spPr>
      </p:pic>
      <p:sp>
        <p:nvSpPr>
          <p:cNvPr id="6" name="TextBox 5">
            <a:extLst>
              <a:ext uri="{FF2B5EF4-FFF2-40B4-BE49-F238E27FC236}">
                <a16:creationId xmlns:a16="http://schemas.microsoft.com/office/drawing/2014/main" id="{506A6ABA-C428-9044-8630-52BA921680D4}"/>
              </a:ext>
            </a:extLst>
          </p:cNvPr>
          <p:cNvSpPr txBox="1"/>
          <p:nvPr/>
        </p:nvSpPr>
        <p:spPr>
          <a:xfrm>
            <a:off x="203281" y="1246537"/>
            <a:ext cx="6339550" cy="5512278"/>
          </a:xfrm>
          <a:prstGeom prst="rect">
            <a:avLst/>
          </a:prstGeom>
          <a:noFill/>
        </p:spPr>
        <p:txBody>
          <a:bodyPr wrap="square" lIns="182880" tIns="146304" rIns="182880" bIns="146304" rtlCol="0">
            <a:spAutoFit/>
          </a:bodyPr>
          <a:lstStyle>
            <a:defPPr>
              <a:defRPr lang="en-US"/>
            </a:defPPr>
            <a:lvl1pPr marL="342900" indent="-342900">
              <a:lnSpc>
                <a:spcPct val="90000"/>
              </a:lnSpc>
              <a:spcAft>
                <a:spcPts val="600"/>
              </a:spcAft>
              <a:buFont typeface="Wingdings" pitchFamily="2" charset="2"/>
              <a:buChar char="§"/>
              <a:defRPr sz="2400">
                <a:gradFill>
                  <a:gsLst>
                    <a:gs pos="2917">
                      <a:schemeClr val="tx1"/>
                    </a:gs>
                    <a:gs pos="30000">
                      <a:schemeClr val="tx1"/>
                    </a:gs>
                  </a:gsLst>
                  <a:lin ang="5400000" scaled="0"/>
                </a:gradFill>
              </a:defRPr>
            </a:lvl1pPr>
          </a:lstStyle>
          <a:p>
            <a:r>
              <a:rPr lang="en-US" dirty="0"/>
              <a:t>Log compaction is a mechanism to give finer-grained per-record retention, rather than the coarser-grained time-based/size-based retention. The idea is to selectively remove records where we have a more recent update with the same primary key. This way the log is guaranteed to have at least the last state for each key.</a:t>
            </a:r>
          </a:p>
          <a:p>
            <a:pPr marL="0" indent="0">
              <a:buNone/>
            </a:pPr>
            <a:endParaRPr lang="en-US" dirty="0"/>
          </a:p>
          <a:p>
            <a:r>
              <a:rPr lang="en-US" dirty="0"/>
              <a:t>This retention policy can be set per-topic, so a single cluster can have some topics where retention is enforced by size or time and other topics where retention is enforced by compaction.</a:t>
            </a:r>
          </a:p>
          <a:p>
            <a:endParaRPr lang="en" dirty="0">
              <a:sym typeface="Roboto"/>
            </a:endParaRPr>
          </a:p>
        </p:txBody>
      </p:sp>
      <p:pic>
        <p:nvPicPr>
          <p:cNvPr id="8" name="Picture 7">
            <a:extLst>
              <a:ext uri="{FF2B5EF4-FFF2-40B4-BE49-F238E27FC236}">
                <a16:creationId xmlns:a16="http://schemas.microsoft.com/office/drawing/2014/main" id="{59B6C147-1020-1E4A-8ED7-ECF7992442B3}"/>
              </a:ext>
            </a:extLst>
          </p:cNvPr>
          <p:cNvPicPr>
            <a:picLocks noChangeAspect="1"/>
          </p:cNvPicPr>
          <p:nvPr/>
        </p:nvPicPr>
        <p:blipFill>
          <a:blip r:embed="rId4"/>
          <a:stretch>
            <a:fillRect/>
          </a:stretch>
        </p:blipFill>
        <p:spPr>
          <a:xfrm>
            <a:off x="6313297" y="1246537"/>
            <a:ext cx="5334417" cy="3565169"/>
          </a:xfrm>
          <a:prstGeom prst="rect">
            <a:avLst/>
          </a:prstGeom>
        </p:spPr>
      </p:pic>
      <p:sp>
        <p:nvSpPr>
          <p:cNvPr id="9" name="Rectangle 8">
            <a:extLst>
              <a:ext uri="{FF2B5EF4-FFF2-40B4-BE49-F238E27FC236}">
                <a16:creationId xmlns:a16="http://schemas.microsoft.com/office/drawing/2014/main" id="{D8174907-CB77-4D40-B4DC-3426A5F8CFD9}"/>
              </a:ext>
            </a:extLst>
          </p:cNvPr>
          <p:cNvSpPr/>
          <p:nvPr/>
        </p:nvSpPr>
        <p:spPr>
          <a:xfrm>
            <a:off x="6542831" y="4812139"/>
            <a:ext cx="5128964" cy="1200329"/>
          </a:xfrm>
          <a:prstGeom prst="rect">
            <a:avLst/>
          </a:prstGeom>
        </p:spPr>
        <p:txBody>
          <a:bodyPr wrap="square">
            <a:spAutoFit/>
          </a:bodyPr>
          <a:lstStyle/>
          <a:p>
            <a:r>
              <a:rPr lang="en-US" dirty="0">
                <a:gradFill>
                  <a:gsLst>
                    <a:gs pos="2917">
                      <a:schemeClr val="tx1"/>
                    </a:gs>
                    <a:gs pos="30000">
                      <a:schemeClr val="tx1"/>
                    </a:gs>
                  </a:gsLst>
                  <a:lin ang="5400000" scaled="0"/>
                </a:gradFill>
              </a:rPr>
              <a:t>The compaction is done in the background, and does not block reads, and can be throttled to use ONLY configured I/O throughput, so as to not impact producer/consumer operations.</a:t>
            </a:r>
          </a:p>
        </p:txBody>
      </p:sp>
    </p:spTree>
    <p:extLst>
      <p:ext uri="{BB962C8B-B14F-4D97-AF65-F5344CB8AC3E}">
        <p14:creationId xmlns:p14="http://schemas.microsoft.com/office/powerpoint/2010/main" val="10031921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p:txBody>
          <a:bodyPr/>
          <a:lstStyle/>
          <a:p>
            <a:r>
              <a:rPr lang="en-US" dirty="0"/>
              <a:t>HDInsight Kafka</a:t>
            </a:r>
          </a:p>
        </p:txBody>
      </p:sp>
    </p:spTree>
    <p:extLst>
      <p:ext uri="{BB962C8B-B14F-4D97-AF65-F5344CB8AC3E}">
        <p14:creationId xmlns:p14="http://schemas.microsoft.com/office/powerpoint/2010/main" val="1276091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FB751B-683E-45FE-BEB1-7A20ED6818DF}"/>
              </a:ext>
            </a:extLst>
          </p:cNvPr>
          <p:cNvSpPr/>
          <p:nvPr/>
        </p:nvSpPr>
        <p:spPr bwMode="auto">
          <a:xfrm>
            <a:off x="0" y="5468115"/>
            <a:ext cx="12192000" cy="1465083"/>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nvGrpSpPr>
          <p:cNvPr id="12" name="Group 11">
            <a:extLst>
              <a:ext uri="{FF2B5EF4-FFF2-40B4-BE49-F238E27FC236}">
                <a16:creationId xmlns:a16="http://schemas.microsoft.com/office/drawing/2014/main" id="{99466254-F253-4A8F-A41C-B9FBCE7C4F10}"/>
              </a:ext>
            </a:extLst>
          </p:cNvPr>
          <p:cNvGrpSpPr/>
          <p:nvPr/>
        </p:nvGrpSpPr>
        <p:grpSpPr>
          <a:xfrm>
            <a:off x="165142" y="2504421"/>
            <a:ext cx="2286000" cy="2751257"/>
            <a:chOff x="2056419" y="3444024"/>
            <a:chExt cx="2286000" cy="2751257"/>
          </a:xfrm>
        </p:grpSpPr>
        <p:sp>
          <p:nvSpPr>
            <p:cNvPr id="53" name="TextBox 52">
              <a:extLst>
                <a:ext uri="{FF2B5EF4-FFF2-40B4-BE49-F238E27FC236}">
                  <a16:creationId xmlns:a16="http://schemas.microsoft.com/office/drawing/2014/main" id="{270E2A84-E90D-41ED-A81E-535ED0C35D98}"/>
                </a:ext>
              </a:extLst>
            </p:cNvPr>
            <p:cNvSpPr txBox="1"/>
            <p:nvPr/>
          </p:nvSpPr>
          <p:spPr>
            <a:xfrm>
              <a:off x="2323519" y="3444024"/>
              <a:ext cx="1751826"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0">
                        <a:schemeClr val="accent1"/>
                      </a:gs>
                      <a:gs pos="100000">
                        <a:schemeClr val="accent1"/>
                      </a:gs>
                    </a:gsLst>
                    <a:lin ang="5400000" scaled="0"/>
                  </a:gradFill>
                  <a:effectLst/>
                  <a:uLnTx/>
                  <a:uFillTx/>
                  <a:ea typeface="+mn-ea"/>
                  <a:cs typeface="Segoe UI Semibold" panose="020B0702040204020203" pitchFamily="34" charset="0"/>
                </a:rPr>
                <a:t>Open Source</a:t>
              </a:r>
            </a:p>
          </p:txBody>
        </p:sp>
        <p:sp>
          <p:nvSpPr>
            <p:cNvPr id="54" name="TextBox 53">
              <a:extLst>
                <a:ext uri="{FF2B5EF4-FFF2-40B4-BE49-F238E27FC236}">
                  <a16:creationId xmlns:a16="http://schemas.microsoft.com/office/drawing/2014/main" id="{7EAB6A43-CA8F-40A2-AC18-E6DA46D56F20}"/>
                </a:ext>
              </a:extLst>
            </p:cNvPr>
            <p:cNvSpPr txBox="1"/>
            <p:nvPr/>
          </p:nvSpPr>
          <p:spPr>
            <a:xfrm>
              <a:off x="2056419" y="4194733"/>
              <a:ext cx="2286000" cy="2000548"/>
            </a:xfrm>
            <a:prstGeom prst="rect">
              <a:avLst/>
            </a:prstGeom>
            <a:noFill/>
          </p:spPr>
          <p:txBody>
            <a:bodyPr wrap="square" lIns="182880" tIns="146304" rIns="182880" bIns="146304" rtlCol="0">
              <a:spAutoFit/>
            </a:bodyPr>
            <a:lstStyle/>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100% Apache Open Source</a:t>
              </a:r>
            </a:p>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The most popular open source frameworks </a:t>
              </a:r>
            </a:p>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Part of the Hortonworks HDP distribution</a:t>
              </a:r>
            </a:p>
          </p:txBody>
        </p:sp>
        <p:sp>
          <p:nvSpPr>
            <p:cNvPr id="55" name="Freeform: Shape 54">
              <a:extLst>
                <a:ext uri="{FF2B5EF4-FFF2-40B4-BE49-F238E27FC236}">
                  <a16:creationId xmlns:a16="http://schemas.microsoft.com/office/drawing/2014/main" id="{FC83C056-A348-47E6-AB0C-267F07C51E25}"/>
                </a:ext>
              </a:extLst>
            </p:cNvPr>
            <p:cNvSpPr/>
            <p:nvPr/>
          </p:nvSpPr>
          <p:spPr bwMode="auto">
            <a:xfrm>
              <a:off x="2575532" y="4033774"/>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nvGrpSpPr>
          <p:cNvPr id="13" name="Group 12">
            <a:extLst>
              <a:ext uri="{FF2B5EF4-FFF2-40B4-BE49-F238E27FC236}">
                <a16:creationId xmlns:a16="http://schemas.microsoft.com/office/drawing/2014/main" id="{1AAE355B-85A9-40EC-A011-89B1124CE353}"/>
              </a:ext>
            </a:extLst>
          </p:cNvPr>
          <p:cNvGrpSpPr/>
          <p:nvPr/>
        </p:nvGrpSpPr>
        <p:grpSpPr>
          <a:xfrm>
            <a:off x="2476320" y="1898526"/>
            <a:ext cx="2286000" cy="3260084"/>
            <a:chOff x="4952593" y="2857035"/>
            <a:chExt cx="2286000" cy="3260084"/>
          </a:xfrm>
        </p:grpSpPr>
        <p:sp>
          <p:nvSpPr>
            <p:cNvPr id="58" name="TextBox 57">
              <a:extLst>
                <a:ext uri="{FF2B5EF4-FFF2-40B4-BE49-F238E27FC236}">
                  <a16:creationId xmlns:a16="http://schemas.microsoft.com/office/drawing/2014/main" id="{862D8B22-7B16-4390-8979-214C3914BE52}"/>
                </a:ext>
              </a:extLst>
            </p:cNvPr>
            <p:cNvSpPr txBox="1"/>
            <p:nvPr/>
          </p:nvSpPr>
          <p:spPr>
            <a:xfrm>
              <a:off x="5401978" y="3482817"/>
              <a:ext cx="1387239"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0">
                        <a:schemeClr val="accent1"/>
                      </a:gs>
                      <a:gs pos="100000">
                        <a:schemeClr val="accent1"/>
                      </a:gs>
                    </a:gsLst>
                    <a:lin ang="5400000" scaled="0"/>
                  </a:gradFill>
                  <a:effectLst/>
                  <a:uLnTx/>
                  <a:uFillTx/>
                  <a:ea typeface="+mn-ea"/>
                  <a:cs typeface="Segoe UI Semibold" panose="020B0702040204020203" pitchFamily="34" charset="0"/>
                </a:rPr>
                <a:t>Managed</a:t>
              </a:r>
            </a:p>
          </p:txBody>
        </p:sp>
        <p:sp>
          <p:nvSpPr>
            <p:cNvPr id="59" name="TextBox 58">
              <a:extLst>
                <a:ext uri="{FF2B5EF4-FFF2-40B4-BE49-F238E27FC236}">
                  <a16:creationId xmlns:a16="http://schemas.microsoft.com/office/drawing/2014/main" id="{206B97D5-09AF-4228-A735-C27EA8D7FC6D}"/>
                </a:ext>
              </a:extLst>
            </p:cNvPr>
            <p:cNvSpPr txBox="1"/>
            <p:nvPr/>
          </p:nvSpPr>
          <p:spPr>
            <a:xfrm>
              <a:off x="4952593" y="4233526"/>
              <a:ext cx="2286000" cy="1883593"/>
            </a:xfrm>
            <a:prstGeom prst="rect">
              <a:avLst/>
            </a:prstGeom>
            <a:noFill/>
          </p:spPr>
          <p:txBody>
            <a:bodyPr wrap="square" lIns="182880" tIns="146304" rIns="182880" bIns="146304" rtlCol="0">
              <a:spAutoFit/>
            </a:bodyPr>
            <a:lstStyle/>
            <a:p>
              <a:pPr marL="171450" lvl="0" indent="-171450" defTabSz="914400">
                <a:lnSpc>
                  <a:spcPct val="90000"/>
                </a:lnSpc>
                <a:spcAft>
                  <a:spcPts val="600"/>
                </a:spcAft>
                <a:buFont typeface="Arial" panose="020B0604020202020204" pitchFamily="34" charset="0"/>
                <a:buChar char="•"/>
                <a:defRPr/>
              </a:pPr>
              <a:r>
                <a:rPr lang="en-US" sz="1400" dirty="0">
                  <a:gradFill>
                    <a:gsLst>
                      <a:gs pos="0">
                        <a:schemeClr val="tx1"/>
                      </a:gs>
                      <a:gs pos="100000">
                        <a:schemeClr val="tx1"/>
                      </a:gs>
                    </a:gsLst>
                    <a:lin ang="5400000" scaled="0"/>
                  </a:gradFill>
                </a:rPr>
                <a:t>99.9% availability SLA​</a:t>
              </a:r>
            </a:p>
            <a:p>
              <a:pPr marL="171450" lvl="0" indent="-171450" defTabSz="914400">
                <a:lnSpc>
                  <a:spcPct val="90000"/>
                </a:lnSpc>
                <a:spcAft>
                  <a:spcPts val="600"/>
                </a:spcAft>
                <a:buFont typeface="Arial" panose="020B0604020202020204" pitchFamily="34" charset="0"/>
                <a:buChar char="•"/>
                <a:defRPr/>
              </a:pPr>
              <a:r>
                <a:rPr lang="en-US" sz="1400" dirty="0">
                  <a:gradFill>
                    <a:gsLst>
                      <a:gs pos="0">
                        <a:schemeClr val="tx1"/>
                      </a:gs>
                      <a:gs pos="100000">
                        <a:schemeClr val="tx1"/>
                      </a:gs>
                    </a:gsLst>
                    <a:lin ang="5400000" scaled="0"/>
                  </a:gradFill>
                </a:rPr>
                <a:t>Cluster Health Monitoring</a:t>
              </a:r>
            </a:p>
            <a:p>
              <a:pPr marL="171450" lvl="0" indent="-171450" defTabSz="914400">
                <a:lnSpc>
                  <a:spcPct val="90000"/>
                </a:lnSpc>
                <a:spcAft>
                  <a:spcPts val="600"/>
                </a:spcAft>
                <a:buFont typeface="Arial" panose="020B0604020202020204" pitchFamily="34" charset="0"/>
                <a:buChar char="•"/>
                <a:defRPr/>
              </a:pPr>
              <a:r>
                <a:rPr lang="en-US" sz="1400" dirty="0">
                  <a:gradFill>
                    <a:gsLst>
                      <a:gs pos="0">
                        <a:schemeClr val="tx1"/>
                      </a:gs>
                      <a:gs pos="100000">
                        <a:schemeClr val="tx1"/>
                      </a:gs>
                    </a:gsLst>
                    <a:lin ang="5400000" scaled="0"/>
                  </a:gradFill>
                </a:rPr>
                <a:t>Integration with Azure Log Analytics</a:t>
              </a:r>
            </a:p>
            <a:p>
              <a:pPr marL="171450" lvl="0" indent="-171450" defTabSz="914400">
                <a:lnSpc>
                  <a:spcPct val="90000"/>
                </a:lnSpc>
                <a:spcAft>
                  <a:spcPts val="600"/>
                </a:spcAft>
                <a:buFont typeface="Arial" panose="020B0604020202020204" pitchFamily="34" charset="0"/>
                <a:buChar char="•"/>
                <a:defRPr/>
              </a:pPr>
              <a:r>
                <a:rPr lang="en-US" sz="1400" dirty="0">
                  <a:gradFill>
                    <a:gsLst>
                      <a:gs pos="0">
                        <a:schemeClr val="tx1"/>
                      </a:gs>
                      <a:gs pos="100000">
                        <a:schemeClr val="tx1"/>
                      </a:gs>
                    </a:gsLst>
                    <a:lin ang="5400000" scaled="0"/>
                  </a:gradFill>
                </a:rPr>
                <a:t>Highly optimized for Azure</a:t>
              </a:r>
            </a:p>
          </p:txBody>
        </p:sp>
        <p:sp>
          <p:nvSpPr>
            <p:cNvPr id="60" name="Freeform: Shape 59">
              <a:extLst>
                <a:ext uri="{FF2B5EF4-FFF2-40B4-BE49-F238E27FC236}">
                  <a16:creationId xmlns:a16="http://schemas.microsoft.com/office/drawing/2014/main" id="{814E70AA-EF07-4F58-BC73-BD74DE5588D6}"/>
                </a:ext>
              </a:extLst>
            </p:cNvPr>
            <p:cNvSpPr/>
            <p:nvPr/>
          </p:nvSpPr>
          <p:spPr bwMode="auto">
            <a:xfrm>
              <a:off x="5471706" y="407256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70" name="plan" title="Icon of a circle with an arrow projecting from it between two exes">
              <a:extLst>
                <a:ext uri="{FF2B5EF4-FFF2-40B4-BE49-F238E27FC236}">
                  <a16:creationId xmlns:a16="http://schemas.microsoft.com/office/drawing/2014/main" id="{6A0F7445-AC0C-413E-884E-3BBC47693504}"/>
                </a:ext>
              </a:extLst>
            </p:cNvPr>
            <p:cNvSpPr>
              <a:spLocks noChangeAspect="1" noEditPoints="1"/>
            </p:cNvSpPr>
            <p:nvPr/>
          </p:nvSpPr>
          <p:spPr bwMode="auto">
            <a:xfrm>
              <a:off x="5853735" y="2857035"/>
              <a:ext cx="483720" cy="485624"/>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lin ang="5400000" scaled="1"/>
                </a:gradFill>
              </a:endParaRPr>
            </a:p>
          </p:txBody>
        </p:sp>
      </p:grpSp>
      <p:grpSp>
        <p:nvGrpSpPr>
          <p:cNvPr id="14" name="Group 13">
            <a:extLst>
              <a:ext uri="{FF2B5EF4-FFF2-40B4-BE49-F238E27FC236}">
                <a16:creationId xmlns:a16="http://schemas.microsoft.com/office/drawing/2014/main" id="{7BC5DEB8-3630-403C-A62F-37DA8097B59E}"/>
              </a:ext>
            </a:extLst>
          </p:cNvPr>
          <p:cNvGrpSpPr/>
          <p:nvPr/>
        </p:nvGrpSpPr>
        <p:grpSpPr>
          <a:xfrm>
            <a:off x="4803582" y="1840773"/>
            <a:ext cx="2537298" cy="3663602"/>
            <a:chOff x="7724764" y="2841315"/>
            <a:chExt cx="2537298" cy="3663602"/>
          </a:xfrm>
        </p:grpSpPr>
        <p:sp>
          <p:nvSpPr>
            <p:cNvPr id="63" name="TextBox 62">
              <a:extLst>
                <a:ext uri="{FF2B5EF4-FFF2-40B4-BE49-F238E27FC236}">
                  <a16:creationId xmlns:a16="http://schemas.microsoft.com/office/drawing/2014/main" id="{EBACEDE1-6025-4EB8-A2D4-0326EA1BA33A}"/>
                </a:ext>
              </a:extLst>
            </p:cNvPr>
            <p:cNvSpPr txBox="1"/>
            <p:nvPr/>
          </p:nvSpPr>
          <p:spPr>
            <a:xfrm>
              <a:off x="7724764" y="3482817"/>
              <a:ext cx="2537298"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0">
                        <a:schemeClr val="accent1"/>
                      </a:gs>
                      <a:gs pos="100000">
                        <a:schemeClr val="accent1"/>
                      </a:gs>
                    </a:gsLst>
                    <a:lin ang="5400000" scaled="0"/>
                  </a:gradFill>
                  <a:effectLst/>
                  <a:uLnTx/>
                  <a:uFillTx/>
                  <a:ea typeface="+mn-ea"/>
                  <a:cs typeface="Segoe UI Semibold" panose="020B0702040204020203" pitchFamily="34" charset="0"/>
                </a:rPr>
                <a:t>Secure &amp; Compliant</a:t>
              </a:r>
            </a:p>
          </p:txBody>
        </p:sp>
        <p:sp>
          <p:nvSpPr>
            <p:cNvPr id="64" name="TextBox 63">
              <a:extLst>
                <a:ext uri="{FF2B5EF4-FFF2-40B4-BE49-F238E27FC236}">
                  <a16:creationId xmlns:a16="http://schemas.microsoft.com/office/drawing/2014/main" id="{F6658CCD-C4CC-4652-864B-38AAE4CBCB71}"/>
                </a:ext>
              </a:extLst>
            </p:cNvPr>
            <p:cNvSpPr txBox="1"/>
            <p:nvPr/>
          </p:nvSpPr>
          <p:spPr>
            <a:xfrm>
              <a:off x="7850406" y="4233526"/>
              <a:ext cx="2286001" cy="2271391"/>
            </a:xfrm>
            <a:prstGeom prst="rect">
              <a:avLst/>
            </a:prstGeom>
            <a:noFill/>
          </p:spPr>
          <p:txBody>
            <a:bodyPr wrap="square" lIns="182880" tIns="146304" rIns="182880" bIns="146304" rtlCol="0">
              <a:spAutoFit/>
            </a:bodyPr>
            <a:lstStyle/>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Role based access control</a:t>
              </a:r>
            </a:p>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Azure AD &amp; Kerberos based authentication</a:t>
              </a:r>
            </a:p>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Strong VNET and service endpoint support</a:t>
              </a:r>
            </a:p>
            <a:p>
              <a:pPr marL="171450" lvl="0" indent="-171450" defTabSz="914400">
                <a:lnSpc>
                  <a:spcPct val="90000"/>
                </a:lnSpc>
                <a:spcAft>
                  <a:spcPts val="600"/>
                </a:spcAft>
                <a:buFont typeface="Arial" panose="020B0604020202020204" pitchFamily="34" charset="0"/>
                <a:buChar char="•"/>
                <a:defRPr/>
              </a:pPr>
              <a:r>
                <a:rPr lang="en-US" sz="1400"/>
                <a:t>The most trusted and compliant platform</a:t>
              </a:r>
              <a:endParaRPr lang="en-US" sz="1400">
                <a:gradFill>
                  <a:gsLst>
                    <a:gs pos="0">
                      <a:schemeClr val="tx1"/>
                    </a:gs>
                    <a:gs pos="100000">
                      <a:schemeClr val="tx1"/>
                    </a:gs>
                  </a:gsLst>
                  <a:lin ang="5400000" scaled="0"/>
                </a:gradFill>
              </a:endParaRPr>
            </a:p>
          </p:txBody>
        </p:sp>
        <p:sp>
          <p:nvSpPr>
            <p:cNvPr id="65" name="Freeform: Shape 64">
              <a:extLst>
                <a:ext uri="{FF2B5EF4-FFF2-40B4-BE49-F238E27FC236}">
                  <a16:creationId xmlns:a16="http://schemas.microsoft.com/office/drawing/2014/main" id="{E4648801-81ED-4476-A52B-6E4AD1AAC5F2}"/>
                </a:ext>
              </a:extLst>
            </p:cNvPr>
            <p:cNvSpPr/>
            <p:nvPr/>
          </p:nvSpPr>
          <p:spPr bwMode="auto">
            <a:xfrm>
              <a:off x="8369520" y="407256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71" name="Shield_EA18" title="Icon of a shield">
              <a:extLst>
                <a:ext uri="{FF2B5EF4-FFF2-40B4-BE49-F238E27FC236}">
                  <a16:creationId xmlns:a16="http://schemas.microsoft.com/office/drawing/2014/main" id="{E753E51F-7314-42F0-93D9-C512B6C4A906}"/>
                </a:ext>
              </a:extLst>
            </p:cNvPr>
            <p:cNvSpPr>
              <a:spLocks noChangeAspect="1"/>
            </p:cNvSpPr>
            <p:nvPr/>
          </p:nvSpPr>
          <p:spPr bwMode="auto">
            <a:xfrm>
              <a:off x="8750577" y="2841315"/>
              <a:ext cx="485659" cy="51706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grpSp>
      <p:grpSp>
        <p:nvGrpSpPr>
          <p:cNvPr id="44" name="Group 43">
            <a:extLst>
              <a:ext uri="{FF2B5EF4-FFF2-40B4-BE49-F238E27FC236}">
                <a16:creationId xmlns:a16="http://schemas.microsoft.com/office/drawing/2014/main" id="{003F2C3B-9446-4E50-BA8F-73FFE3D90EFF}"/>
              </a:ext>
            </a:extLst>
          </p:cNvPr>
          <p:cNvGrpSpPr/>
          <p:nvPr/>
        </p:nvGrpSpPr>
        <p:grpSpPr>
          <a:xfrm>
            <a:off x="7357876" y="2489785"/>
            <a:ext cx="2286000" cy="2557357"/>
            <a:chOff x="7850407" y="3482817"/>
            <a:chExt cx="2286000" cy="2557357"/>
          </a:xfrm>
        </p:grpSpPr>
        <p:sp>
          <p:nvSpPr>
            <p:cNvPr id="45" name="TextBox 44">
              <a:extLst>
                <a:ext uri="{FF2B5EF4-FFF2-40B4-BE49-F238E27FC236}">
                  <a16:creationId xmlns:a16="http://schemas.microsoft.com/office/drawing/2014/main" id="{11E278ED-225B-4D64-B61A-9232E716EFA1}"/>
                </a:ext>
              </a:extLst>
            </p:cNvPr>
            <p:cNvSpPr txBox="1"/>
            <p:nvPr/>
          </p:nvSpPr>
          <p:spPr>
            <a:xfrm>
              <a:off x="8224417" y="3482817"/>
              <a:ext cx="1537986"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0">
                        <a:schemeClr val="accent1"/>
                      </a:gs>
                      <a:gs pos="100000">
                        <a:schemeClr val="accent1"/>
                      </a:gs>
                    </a:gsLst>
                    <a:lin ang="5400000" scaled="0"/>
                  </a:gradFill>
                  <a:effectLst/>
                  <a:uLnTx/>
                  <a:uFillTx/>
                  <a:ea typeface="+mn-ea"/>
                  <a:cs typeface="Segoe UI Semibold" panose="020B0702040204020203" pitchFamily="34" charset="0"/>
                </a:rPr>
                <a:t>Productive</a:t>
              </a:r>
            </a:p>
          </p:txBody>
        </p:sp>
        <p:sp>
          <p:nvSpPr>
            <p:cNvPr id="46" name="TextBox 45">
              <a:extLst>
                <a:ext uri="{FF2B5EF4-FFF2-40B4-BE49-F238E27FC236}">
                  <a16:creationId xmlns:a16="http://schemas.microsoft.com/office/drawing/2014/main" id="{E595F851-1C72-4CEF-A823-C3F7C363B9A4}"/>
                </a:ext>
              </a:extLst>
            </p:cNvPr>
            <p:cNvSpPr txBox="1"/>
            <p:nvPr/>
          </p:nvSpPr>
          <p:spPr>
            <a:xfrm>
              <a:off x="7850407" y="4233526"/>
              <a:ext cx="2286000" cy="1806648"/>
            </a:xfrm>
            <a:prstGeom prst="rect">
              <a:avLst/>
            </a:prstGeom>
            <a:noFill/>
          </p:spPr>
          <p:txBody>
            <a:bodyPr wrap="square" lIns="182880" tIns="146304" rIns="182880" bIns="146304" rtlCol="0">
              <a:spAutoFit/>
            </a:bodyPr>
            <a:lstStyle/>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Works with the tools developers already have</a:t>
              </a:r>
            </a:p>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Special extensions for advanced debugging and diagnostics</a:t>
              </a:r>
            </a:p>
            <a:p>
              <a:pPr lvl="0" algn="ctr" defTabSz="914400">
                <a:lnSpc>
                  <a:spcPct val="90000"/>
                </a:lnSpc>
                <a:spcAft>
                  <a:spcPts val="600"/>
                </a:spcAft>
                <a:defRPr/>
              </a:pPr>
              <a:endParaRPr lang="en-US" sz="1400">
                <a:gradFill>
                  <a:gsLst>
                    <a:gs pos="0">
                      <a:schemeClr val="tx1"/>
                    </a:gs>
                    <a:gs pos="100000">
                      <a:schemeClr val="tx1"/>
                    </a:gs>
                  </a:gsLst>
                  <a:lin ang="5400000" scaled="0"/>
                </a:gradFill>
              </a:endParaRPr>
            </a:p>
          </p:txBody>
        </p:sp>
        <p:sp>
          <p:nvSpPr>
            <p:cNvPr id="47" name="Freeform: Shape 46">
              <a:extLst>
                <a:ext uri="{FF2B5EF4-FFF2-40B4-BE49-F238E27FC236}">
                  <a16:creationId xmlns:a16="http://schemas.microsoft.com/office/drawing/2014/main" id="{D3B5D9B1-3273-41B1-9234-DA630152B41F}"/>
                </a:ext>
              </a:extLst>
            </p:cNvPr>
            <p:cNvSpPr/>
            <p:nvPr/>
          </p:nvSpPr>
          <p:spPr bwMode="auto">
            <a:xfrm>
              <a:off x="8369520" y="407256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nvGrpSpPr>
          <p:cNvPr id="37" name="Group 36">
            <a:extLst>
              <a:ext uri="{FF2B5EF4-FFF2-40B4-BE49-F238E27FC236}">
                <a16:creationId xmlns:a16="http://schemas.microsoft.com/office/drawing/2014/main" id="{B8AFB117-34F3-4888-AF9B-A4C4207FF31B}"/>
              </a:ext>
            </a:extLst>
          </p:cNvPr>
          <p:cNvGrpSpPr/>
          <p:nvPr/>
        </p:nvGrpSpPr>
        <p:grpSpPr>
          <a:xfrm>
            <a:off x="9693308" y="2426367"/>
            <a:ext cx="2286000" cy="2511935"/>
            <a:chOff x="2056419" y="3444024"/>
            <a:chExt cx="2286000" cy="2410712"/>
          </a:xfrm>
        </p:grpSpPr>
        <p:sp>
          <p:nvSpPr>
            <p:cNvPr id="38" name="TextBox 37">
              <a:extLst>
                <a:ext uri="{FF2B5EF4-FFF2-40B4-BE49-F238E27FC236}">
                  <a16:creationId xmlns:a16="http://schemas.microsoft.com/office/drawing/2014/main" id="{624A23C4-E819-4853-880B-77BF630377FC}"/>
                </a:ext>
              </a:extLst>
            </p:cNvPr>
            <p:cNvSpPr txBox="1"/>
            <p:nvPr/>
          </p:nvSpPr>
          <p:spPr>
            <a:xfrm>
              <a:off x="2410817" y="3444024"/>
              <a:ext cx="1577228" cy="52281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0">
                        <a:schemeClr val="accent1"/>
                      </a:gs>
                      <a:gs pos="100000">
                        <a:schemeClr val="accent1"/>
                      </a:gs>
                    </a:gsLst>
                    <a:lin ang="5400000" scaled="0"/>
                  </a:gradFill>
                  <a:effectLst/>
                  <a:uLnTx/>
                  <a:uFillTx/>
                  <a:ea typeface="+mn-ea"/>
                  <a:cs typeface="Segoe UI Semibold" panose="020B0702040204020203" pitchFamily="34" charset="0"/>
                </a:rPr>
                <a:t>Lift &amp; Shift</a:t>
              </a:r>
            </a:p>
          </p:txBody>
        </p:sp>
        <p:sp>
          <p:nvSpPr>
            <p:cNvPr id="39" name="TextBox 38">
              <a:extLst>
                <a:ext uri="{FF2B5EF4-FFF2-40B4-BE49-F238E27FC236}">
                  <a16:creationId xmlns:a16="http://schemas.microsoft.com/office/drawing/2014/main" id="{879CAB86-051E-48B7-876D-537036D162DB}"/>
                </a:ext>
              </a:extLst>
            </p:cNvPr>
            <p:cNvSpPr txBox="1"/>
            <p:nvPr/>
          </p:nvSpPr>
          <p:spPr>
            <a:xfrm>
              <a:off x="2056419" y="4194733"/>
              <a:ext cx="2286000" cy="1660003"/>
            </a:xfrm>
            <a:prstGeom prst="rect">
              <a:avLst/>
            </a:prstGeom>
            <a:noFill/>
          </p:spPr>
          <p:txBody>
            <a:bodyPr wrap="square" lIns="182880" tIns="146304" rIns="182880" bIns="146304" rtlCol="0">
              <a:spAutoFit/>
            </a:bodyPr>
            <a:lstStyle/>
            <a:p>
              <a:pPr marL="171450" lvl="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Move workloads from on-prem or other clouds without code changes </a:t>
              </a:r>
            </a:p>
            <a:p>
              <a:pPr marL="171450" indent="-171450" defTabSz="914400">
                <a:lnSpc>
                  <a:spcPct val="90000"/>
                </a:lnSpc>
                <a:spcAft>
                  <a:spcPts val="600"/>
                </a:spcAft>
                <a:buFont typeface="Arial" panose="020B0604020202020204" pitchFamily="34" charset="0"/>
                <a:buChar char="•"/>
                <a:defRPr/>
              </a:pPr>
              <a:r>
                <a:rPr lang="en-US" sz="1400">
                  <a:gradFill>
                    <a:gsLst>
                      <a:gs pos="0">
                        <a:schemeClr val="tx1"/>
                      </a:gs>
                      <a:gs pos="100000">
                        <a:schemeClr val="tx1"/>
                      </a:gs>
                    </a:gsLst>
                    <a:lin ang="5400000" scaled="0"/>
                  </a:gradFill>
                </a:rPr>
                <a:t>Curated application platform for wide variety of use cases</a:t>
              </a:r>
            </a:p>
          </p:txBody>
        </p:sp>
        <p:sp>
          <p:nvSpPr>
            <p:cNvPr id="40" name="Freeform: Shape 39">
              <a:extLst>
                <a:ext uri="{FF2B5EF4-FFF2-40B4-BE49-F238E27FC236}">
                  <a16:creationId xmlns:a16="http://schemas.microsoft.com/office/drawing/2014/main" id="{B2D44061-E4F1-44B0-989A-270612ECE42F}"/>
                </a:ext>
              </a:extLst>
            </p:cNvPr>
            <p:cNvSpPr/>
            <p:nvPr/>
          </p:nvSpPr>
          <p:spPr bwMode="auto">
            <a:xfrm>
              <a:off x="2575532" y="4033774"/>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sp>
        <p:nvSpPr>
          <p:cNvPr id="56" name="location_3" title="Icon of a map with a pin in it">
            <a:extLst>
              <a:ext uri="{FF2B5EF4-FFF2-40B4-BE49-F238E27FC236}">
                <a16:creationId xmlns:a16="http://schemas.microsoft.com/office/drawing/2014/main" id="{11E0C2C2-B56E-4443-8251-C22F6E80C008}"/>
              </a:ext>
            </a:extLst>
          </p:cNvPr>
          <p:cNvSpPr>
            <a:spLocks noChangeAspect="1" noEditPoints="1"/>
          </p:cNvSpPr>
          <p:nvPr/>
        </p:nvSpPr>
        <p:spPr bwMode="auto">
          <a:xfrm>
            <a:off x="10498127" y="1791973"/>
            <a:ext cx="594457" cy="499418"/>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7" name="Group 56">
            <a:extLst>
              <a:ext uri="{FF2B5EF4-FFF2-40B4-BE49-F238E27FC236}">
                <a16:creationId xmlns:a16="http://schemas.microsoft.com/office/drawing/2014/main" id="{198E11F0-7C97-431D-9057-99816D04FAD2}"/>
              </a:ext>
            </a:extLst>
          </p:cNvPr>
          <p:cNvGrpSpPr/>
          <p:nvPr/>
        </p:nvGrpSpPr>
        <p:grpSpPr>
          <a:xfrm>
            <a:off x="8195547" y="1840773"/>
            <a:ext cx="610658" cy="634904"/>
            <a:chOff x="4246067" y="2646768"/>
            <a:chExt cx="938674" cy="975944"/>
          </a:xfrm>
        </p:grpSpPr>
        <p:sp>
          <p:nvSpPr>
            <p:cNvPr id="61" name="cloud">
              <a:extLst>
                <a:ext uri="{FF2B5EF4-FFF2-40B4-BE49-F238E27FC236}">
                  <a16:creationId xmlns:a16="http://schemas.microsoft.com/office/drawing/2014/main" id="{65F465D1-8688-45B3-AC99-D3187503D121}"/>
                </a:ext>
              </a:extLst>
            </p:cNvPr>
            <p:cNvSpPr>
              <a:spLocks noChangeAspect="1"/>
            </p:cNvSpPr>
            <p:nvPr/>
          </p:nvSpPr>
          <p:spPr bwMode="auto">
            <a:xfrm>
              <a:off x="4246067" y="2646768"/>
              <a:ext cx="938674" cy="59397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chemeClr val="tx1"/>
                    </a:gs>
                    <a:gs pos="100000">
                      <a:schemeClr val="tx1"/>
                    </a:gs>
                  </a:gsLst>
                  <a:lin ang="5400000" scaled="1"/>
                </a:gradFill>
                <a:effectLst/>
                <a:uLnTx/>
                <a:uFillTx/>
                <a:latin typeface="Segoe UI Semilight"/>
                <a:ea typeface="+mn-ea"/>
                <a:cs typeface="Segoe UI" pitchFamily="34" charset="0"/>
              </a:endParaRPr>
            </a:p>
          </p:txBody>
        </p:sp>
        <p:sp>
          <p:nvSpPr>
            <p:cNvPr id="62" name="server">
              <a:extLst>
                <a:ext uri="{FF2B5EF4-FFF2-40B4-BE49-F238E27FC236}">
                  <a16:creationId xmlns:a16="http://schemas.microsoft.com/office/drawing/2014/main" id="{19102792-D6AF-4645-80CC-0D36E1AA4689}"/>
                </a:ext>
              </a:extLst>
            </p:cNvPr>
            <p:cNvSpPr>
              <a:spLocks noChangeAspect="1" noEditPoints="1"/>
            </p:cNvSpPr>
            <p:nvPr/>
          </p:nvSpPr>
          <p:spPr bwMode="auto">
            <a:xfrm>
              <a:off x="4554053" y="2896043"/>
              <a:ext cx="322703" cy="72666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15875">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chemeClr val="tx1"/>
                    </a:gs>
                    <a:gs pos="100000">
                      <a:schemeClr val="tx1"/>
                    </a:gs>
                  </a:gsLst>
                  <a:lin ang="5400000" scaled="1"/>
                </a:gradFill>
                <a:effectLst/>
                <a:uLnTx/>
                <a:uFillTx/>
                <a:latin typeface="Segoe UI Semilight"/>
                <a:ea typeface="+mn-ea"/>
                <a:cs typeface="Segoe UI" pitchFamily="34" charset="0"/>
              </a:endParaRPr>
            </a:p>
          </p:txBody>
        </p:sp>
      </p:grpSp>
      <p:grpSp>
        <p:nvGrpSpPr>
          <p:cNvPr id="49" name="Group 48">
            <a:extLst>
              <a:ext uri="{FF2B5EF4-FFF2-40B4-BE49-F238E27FC236}">
                <a16:creationId xmlns:a16="http://schemas.microsoft.com/office/drawing/2014/main" id="{3C812F6F-3D74-4211-9614-E33499FA66B1}"/>
              </a:ext>
            </a:extLst>
          </p:cNvPr>
          <p:cNvGrpSpPr/>
          <p:nvPr/>
        </p:nvGrpSpPr>
        <p:grpSpPr>
          <a:xfrm>
            <a:off x="9744491" y="5878040"/>
            <a:ext cx="1715718" cy="570770"/>
            <a:chOff x="9148456" y="4812027"/>
            <a:chExt cx="1521567" cy="506181"/>
          </a:xfrm>
        </p:grpSpPr>
        <p:sp>
          <p:nvSpPr>
            <p:cNvPr id="50" name="Freeform: Shape 49">
              <a:extLst>
                <a:ext uri="{FF2B5EF4-FFF2-40B4-BE49-F238E27FC236}">
                  <a16:creationId xmlns:a16="http://schemas.microsoft.com/office/drawing/2014/main" id="{8600F3C4-C6C5-4F14-B3DB-3F37C0B47120}"/>
                </a:ext>
              </a:extLst>
            </p:cNvPr>
            <p:cNvSpPr/>
            <p:nvPr/>
          </p:nvSpPr>
          <p:spPr>
            <a:xfrm>
              <a:off x="9263947" y="4812027"/>
              <a:ext cx="419855" cy="304695"/>
            </a:xfrm>
            <a:custGeom>
              <a:avLst/>
              <a:gdLst>
                <a:gd name="connsiteX0" fmla="*/ 570141 w 724143"/>
                <a:gd name="connsiteY0" fmla="*/ 524408 h 525521"/>
                <a:gd name="connsiteX1" fmla="*/ 724673 w 724143"/>
                <a:gd name="connsiteY1" fmla="*/ 374585 h 525521"/>
                <a:gd name="connsiteX2" fmla="*/ 664180 w 724143"/>
                <a:gd name="connsiteY2" fmla="*/ 265016 h 525521"/>
                <a:gd name="connsiteX3" fmla="*/ 555401 w 724143"/>
                <a:gd name="connsiteY3" fmla="*/ 232686 h 525521"/>
                <a:gd name="connsiteX4" fmla="*/ 547134 w 724143"/>
                <a:gd name="connsiteY4" fmla="*/ 119041 h 525521"/>
                <a:gd name="connsiteX5" fmla="*/ 307442 w 724143"/>
                <a:gd name="connsiteY5" fmla="*/ 3103 h 525521"/>
                <a:gd name="connsiteX6" fmla="*/ 110128 w 724143"/>
                <a:gd name="connsiteY6" fmla="*/ 83781 h 525521"/>
                <a:gd name="connsiteX7" fmla="*/ 3103 w 724143"/>
                <a:gd name="connsiteY7" fmla="*/ 186866 h 525521"/>
                <a:gd name="connsiteX8" fmla="*/ 112697 w 724143"/>
                <a:gd name="connsiteY8" fmla="*/ 156688 h 525521"/>
                <a:gd name="connsiteX9" fmla="*/ 148387 w 724143"/>
                <a:gd name="connsiteY9" fmla="*/ 122049 h 525521"/>
                <a:gd name="connsiteX10" fmla="*/ 307442 w 724143"/>
                <a:gd name="connsiteY10" fmla="*/ 57216 h 525521"/>
                <a:gd name="connsiteX11" fmla="*/ 498628 w 724143"/>
                <a:gd name="connsiteY11" fmla="*/ 143033 h 525521"/>
                <a:gd name="connsiteX12" fmla="*/ 490253 w 724143"/>
                <a:gd name="connsiteY12" fmla="*/ 241413 h 525521"/>
                <a:gd name="connsiteX13" fmla="*/ 457071 w 724143"/>
                <a:gd name="connsiteY13" fmla="*/ 284886 h 525521"/>
                <a:gd name="connsiteX14" fmla="*/ 511762 w 724143"/>
                <a:gd name="connsiteY14" fmla="*/ 284886 h 525521"/>
                <a:gd name="connsiteX15" fmla="*/ 670557 w 724143"/>
                <a:gd name="connsiteY15" fmla="*/ 374585 h 525521"/>
                <a:gd name="connsiteX16" fmla="*/ 570141 w 724143"/>
                <a:gd name="connsiteY16" fmla="*/ 470288 h 525521"/>
                <a:gd name="connsiteX17" fmla="*/ 467892 w 724143"/>
                <a:gd name="connsiteY17" fmla="*/ 470288 h 525521"/>
                <a:gd name="connsiteX18" fmla="*/ 399189 w 724143"/>
                <a:gd name="connsiteY18" fmla="*/ 524408 h 525521"/>
                <a:gd name="connsiteX19" fmla="*/ 570141 w 724143"/>
                <a:gd name="connsiteY19" fmla="*/ 524408 h 52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4143" h="525521">
                  <a:moveTo>
                    <a:pt x="570141" y="524408"/>
                  </a:moveTo>
                  <a:cubicBezTo>
                    <a:pt x="661126" y="524408"/>
                    <a:pt x="724673" y="462798"/>
                    <a:pt x="724673" y="374585"/>
                  </a:cubicBezTo>
                  <a:cubicBezTo>
                    <a:pt x="724673" y="327785"/>
                    <a:pt x="703755" y="289897"/>
                    <a:pt x="664180" y="265016"/>
                  </a:cubicBezTo>
                  <a:cubicBezTo>
                    <a:pt x="636551" y="247649"/>
                    <a:pt x="600083" y="236824"/>
                    <a:pt x="555401" y="232686"/>
                  </a:cubicBezTo>
                  <a:cubicBezTo>
                    <a:pt x="567708" y="196247"/>
                    <a:pt x="565200" y="155567"/>
                    <a:pt x="547134" y="119041"/>
                  </a:cubicBezTo>
                  <a:cubicBezTo>
                    <a:pt x="529887" y="84179"/>
                    <a:pt x="472009" y="3103"/>
                    <a:pt x="307442" y="3103"/>
                  </a:cubicBezTo>
                  <a:cubicBezTo>
                    <a:pt x="199218" y="3103"/>
                    <a:pt x="129055" y="64854"/>
                    <a:pt x="110128" y="83781"/>
                  </a:cubicBezTo>
                  <a:cubicBezTo>
                    <a:pt x="99584" y="94325"/>
                    <a:pt x="51439" y="140562"/>
                    <a:pt x="3103" y="186866"/>
                  </a:cubicBezTo>
                  <a:cubicBezTo>
                    <a:pt x="37068" y="175474"/>
                    <a:pt x="75601" y="164141"/>
                    <a:pt x="112697" y="156688"/>
                  </a:cubicBezTo>
                  <a:cubicBezTo>
                    <a:pt x="130168" y="139859"/>
                    <a:pt x="143318" y="127118"/>
                    <a:pt x="148387" y="122049"/>
                  </a:cubicBezTo>
                  <a:cubicBezTo>
                    <a:pt x="163598" y="106838"/>
                    <a:pt x="220020" y="57216"/>
                    <a:pt x="307442" y="57216"/>
                  </a:cubicBezTo>
                  <a:cubicBezTo>
                    <a:pt x="441682" y="57216"/>
                    <a:pt x="485863" y="117233"/>
                    <a:pt x="498628" y="143033"/>
                  </a:cubicBezTo>
                  <a:cubicBezTo>
                    <a:pt x="515056" y="176244"/>
                    <a:pt x="511924" y="213022"/>
                    <a:pt x="490253" y="241413"/>
                  </a:cubicBezTo>
                  <a:lnTo>
                    <a:pt x="457071" y="284886"/>
                  </a:lnTo>
                  <a:lnTo>
                    <a:pt x="511762" y="284886"/>
                  </a:lnTo>
                  <a:cubicBezTo>
                    <a:pt x="643006" y="284886"/>
                    <a:pt x="670557" y="333665"/>
                    <a:pt x="670557" y="374585"/>
                  </a:cubicBezTo>
                  <a:cubicBezTo>
                    <a:pt x="670557" y="431829"/>
                    <a:pt x="630203" y="470288"/>
                    <a:pt x="570141" y="470288"/>
                  </a:cubicBezTo>
                  <a:lnTo>
                    <a:pt x="467892" y="470288"/>
                  </a:lnTo>
                  <a:lnTo>
                    <a:pt x="399189" y="524408"/>
                  </a:lnTo>
                  <a:lnTo>
                    <a:pt x="570141" y="524408"/>
                  </a:lnTo>
                  <a:close/>
                </a:path>
              </a:pathLst>
            </a:custGeom>
            <a:solidFill>
              <a:srgbClr val="1B75BB"/>
            </a:solidFill>
            <a:ln w="9525" cap="flat">
              <a:noFill/>
              <a:prstDash val="solid"/>
              <a:round/>
            </a:ln>
          </p:spPr>
          <p:txBody>
            <a:bodyPr rtlCol="0" anchor="ctr"/>
            <a:lstStyle/>
            <a:p>
              <a:endParaRPr lang="en-US"/>
            </a:p>
          </p:txBody>
        </p:sp>
        <p:sp>
          <p:nvSpPr>
            <p:cNvPr id="51" name="Freeform: Shape 50">
              <a:extLst>
                <a:ext uri="{FF2B5EF4-FFF2-40B4-BE49-F238E27FC236}">
                  <a16:creationId xmlns:a16="http://schemas.microsoft.com/office/drawing/2014/main" id="{6DACC937-F568-4EA9-845D-5DF6BDC03AE1}"/>
                </a:ext>
              </a:extLst>
            </p:cNvPr>
            <p:cNvSpPr/>
            <p:nvPr/>
          </p:nvSpPr>
          <p:spPr>
            <a:xfrm>
              <a:off x="9148456" y="4896082"/>
              <a:ext cx="340682" cy="203930"/>
            </a:xfrm>
            <a:custGeom>
              <a:avLst/>
              <a:gdLst>
                <a:gd name="connsiteX0" fmla="*/ 386196 w 587590"/>
                <a:gd name="connsiteY0" fmla="*/ 57220 h 351726"/>
                <a:gd name="connsiteX1" fmla="*/ 533727 w 587590"/>
                <a:gd name="connsiteY1" fmla="*/ 168808 h 351726"/>
                <a:gd name="connsiteX2" fmla="*/ 357094 w 587590"/>
                <a:gd name="connsiteY2" fmla="*/ 297532 h 351726"/>
                <a:gd name="connsiteX3" fmla="*/ 159845 w 587590"/>
                <a:gd name="connsiteY3" fmla="*/ 297532 h 351726"/>
                <a:gd name="connsiteX4" fmla="*/ 327267 w 587590"/>
                <a:gd name="connsiteY4" fmla="*/ 166284 h 351726"/>
                <a:gd name="connsiteX5" fmla="*/ 239559 w 587590"/>
                <a:gd name="connsiteY5" fmla="*/ 166284 h 351726"/>
                <a:gd name="connsiteX6" fmla="*/ 3103 w 587590"/>
                <a:gd name="connsiteY6" fmla="*/ 351648 h 351726"/>
                <a:gd name="connsiteX7" fmla="*/ 362175 w 587590"/>
                <a:gd name="connsiteY7" fmla="*/ 351648 h 351726"/>
                <a:gd name="connsiteX8" fmla="*/ 362175 w 587590"/>
                <a:gd name="connsiteY8" fmla="*/ 351582 h 351726"/>
                <a:gd name="connsiteX9" fmla="*/ 587843 w 587590"/>
                <a:gd name="connsiteY9" fmla="*/ 168808 h 351726"/>
                <a:gd name="connsiteX10" fmla="*/ 511088 w 587590"/>
                <a:gd name="connsiteY10" fmla="*/ 27058 h 351726"/>
                <a:gd name="connsiteX11" fmla="*/ 386196 w 587590"/>
                <a:gd name="connsiteY11" fmla="*/ 3103 h 351726"/>
                <a:gd name="connsiteX12" fmla="*/ 311891 w 587590"/>
                <a:gd name="connsiteY12" fmla="*/ 11715 h 351726"/>
                <a:gd name="connsiteX13" fmla="*/ 230824 w 587590"/>
                <a:gd name="connsiteY13" fmla="*/ 89521 h 351726"/>
                <a:gd name="connsiteX14" fmla="*/ 386196 w 587590"/>
                <a:gd name="connsiteY14" fmla="*/ 57220 h 35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7590" h="351726">
                  <a:moveTo>
                    <a:pt x="386196" y="57220"/>
                  </a:moveTo>
                  <a:cubicBezTo>
                    <a:pt x="490990" y="57220"/>
                    <a:pt x="533727" y="89550"/>
                    <a:pt x="533727" y="168808"/>
                  </a:cubicBezTo>
                  <a:cubicBezTo>
                    <a:pt x="533727" y="294027"/>
                    <a:pt x="358865" y="297532"/>
                    <a:pt x="357094" y="297532"/>
                  </a:cubicBezTo>
                  <a:lnTo>
                    <a:pt x="159845" y="297532"/>
                  </a:lnTo>
                  <a:lnTo>
                    <a:pt x="327267" y="166284"/>
                  </a:lnTo>
                  <a:lnTo>
                    <a:pt x="239559" y="166284"/>
                  </a:lnTo>
                  <a:lnTo>
                    <a:pt x="3103" y="351648"/>
                  </a:lnTo>
                  <a:lnTo>
                    <a:pt x="362175" y="351648"/>
                  </a:lnTo>
                  <a:lnTo>
                    <a:pt x="362175" y="351582"/>
                  </a:lnTo>
                  <a:cubicBezTo>
                    <a:pt x="429628" y="349906"/>
                    <a:pt x="587843" y="314990"/>
                    <a:pt x="587843" y="168808"/>
                  </a:cubicBezTo>
                  <a:cubicBezTo>
                    <a:pt x="587843" y="84911"/>
                    <a:pt x="546103" y="45418"/>
                    <a:pt x="511088" y="27058"/>
                  </a:cubicBezTo>
                  <a:cubicBezTo>
                    <a:pt x="470590" y="5826"/>
                    <a:pt x="423069" y="3103"/>
                    <a:pt x="386196" y="3103"/>
                  </a:cubicBezTo>
                  <a:cubicBezTo>
                    <a:pt x="363603" y="3103"/>
                    <a:pt x="338109" y="6447"/>
                    <a:pt x="311891" y="11715"/>
                  </a:cubicBezTo>
                  <a:cubicBezTo>
                    <a:pt x="289392" y="33385"/>
                    <a:pt x="259732" y="61834"/>
                    <a:pt x="230824" y="89521"/>
                  </a:cubicBezTo>
                  <a:cubicBezTo>
                    <a:pt x="282267" y="72758"/>
                    <a:pt x="341883" y="57220"/>
                    <a:pt x="386196" y="57220"/>
                  </a:cubicBezTo>
                  <a:close/>
                </a:path>
              </a:pathLst>
            </a:custGeom>
            <a:solidFill>
              <a:srgbClr val="26AAE0"/>
            </a:solidFill>
            <a:ln w="9525" cap="flat">
              <a:noFill/>
              <a:prstDash val="solid"/>
              <a:round/>
            </a:ln>
          </p:spPr>
          <p:txBody>
            <a:bodyPr rtlCol="0" anchor="ctr"/>
            <a:lstStyle/>
            <a:p>
              <a:endParaRPr lang="en-US"/>
            </a:p>
          </p:txBody>
        </p:sp>
        <p:sp>
          <p:nvSpPr>
            <p:cNvPr id="52" name="Freeform: Shape 51">
              <a:extLst>
                <a:ext uri="{FF2B5EF4-FFF2-40B4-BE49-F238E27FC236}">
                  <a16:creationId xmlns:a16="http://schemas.microsoft.com/office/drawing/2014/main" id="{3BB08619-9EB6-4F59-B770-8AD5E0C97A9C}"/>
                </a:ext>
              </a:extLst>
            </p:cNvPr>
            <p:cNvSpPr/>
            <p:nvPr/>
          </p:nvSpPr>
          <p:spPr>
            <a:xfrm>
              <a:off x="9204078" y="4901075"/>
              <a:ext cx="124757" cy="76774"/>
            </a:xfrm>
            <a:custGeom>
              <a:avLst/>
              <a:gdLst>
                <a:gd name="connsiteX0" fmla="*/ 3103 w 215173"/>
                <a:gd name="connsiteY0" fmla="*/ 132067 h 132414"/>
                <a:gd name="connsiteX1" fmla="*/ 25585 w 215173"/>
                <a:gd name="connsiteY1" fmla="*/ 121888 h 132414"/>
                <a:gd name="connsiteX2" fmla="*/ 134889 w 215173"/>
                <a:gd name="connsiteY2" fmla="*/ 80910 h 132414"/>
                <a:gd name="connsiteX3" fmla="*/ 215956 w 215173"/>
                <a:gd name="connsiteY3" fmla="*/ 3103 h 132414"/>
                <a:gd name="connsiteX4" fmla="*/ 106362 w 215173"/>
                <a:gd name="connsiteY4" fmla="*/ 33282 h 132414"/>
                <a:gd name="connsiteX5" fmla="*/ 3103 w 215173"/>
                <a:gd name="connsiteY5" fmla="*/ 132067 h 13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173" h="132414">
                  <a:moveTo>
                    <a:pt x="3103" y="132067"/>
                  </a:moveTo>
                  <a:lnTo>
                    <a:pt x="25585" y="121888"/>
                  </a:lnTo>
                  <a:cubicBezTo>
                    <a:pt x="26475" y="121482"/>
                    <a:pt x="75178" y="100370"/>
                    <a:pt x="134889" y="80910"/>
                  </a:cubicBezTo>
                  <a:cubicBezTo>
                    <a:pt x="163797" y="53222"/>
                    <a:pt x="193458" y="24774"/>
                    <a:pt x="215956" y="3103"/>
                  </a:cubicBezTo>
                  <a:cubicBezTo>
                    <a:pt x="178859" y="10556"/>
                    <a:pt x="140327" y="21890"/>
                    <a:pt x="106362" y="33282"/>
                  </a:cubicBezTo>
                  <a:cubicBezTo>
                    <a:pt x="63162" y="74670"/>
                    <a:pt x="19912" y="116004"/>
                    <a:pt x="3103" y="132067"/>
                  </a:cubicBezTo>
                  <a:close/>
                </a:path>
              </a:pathLst>
            </a:custGeom>
            <a:solidFill>
              <a:srgbClr val="2294D1"/>
            </a:solidFill>
            <a:ln w="9525" cap="flat">
              <a:noFill/>
              <a:prstDash val="solid"/>
              <a:round/>
            </a:ln>
          </p:spPr>
          <p:txBody>
            <a:bodyPr rtlCol="0" anchor="ctr"/>
            <a:lstStyle/>
            <a:p>
              <a:endParaRPr lang="en-US"/>
            </a:p>
          </p:txBody>
        </p:sp>
        <p:sp>
          <p:nvSpPr>
            <p:cNvPr id="66" name="Freeform: Shape 65">
              <a:extLst>
                <a:ext uri="{FF2B5EF4-FFF2-40B4-BE49-F238E27FC236}">
                  <a16:creationId xmlns:a16="http://schemas.microsoft.com/office/drawing/2014/main" id="{4123284D-2F86-4E70-8034-2A056525A6E7}"/>
                </a:ext>
              </a:extLst>
            </p:cNvPr>
            <p:cNvSpPr/>
            <p:nvPr/>
          </p:nvSpPr>
          <p:spPr>
            <a:xfrm>
              <a:off x="9339524" y="5114278"/>
              <a:ext cx="261510" cy="203930"/>
            </a:xfrm>
            <a:custGeom>
              <a:avLst/>
              <a:gdLst>
                <a:gd name="connsiteX0" fmla="*/ 181379 w 451037"/>
                <a:gd name="connsiteY0" fmla="*/ 3103 h 351726"/>
                <a:gd name="connsiteX1" fmla="*/ 21716 w 451037"/>
                <a:gd name="connsiteY1" fmla="*/ 128856 h 351726"/>
                <a:gd name="connsiteX2" fmla="*/ 290456 w 451037"/>
                <a:gd name="connsiteY2" fmla="*/ 128856 h 351726"/>
                <a:gd name="connsiteX3" fmla="*/ 3103 w 451037"/>
                <a:gd name="connsiteY3" fmla="*/ 352153 h 351726"/>
                <a:gd name="connsiteX4" fmla="*/ 91300 w 451037"/>
                <a:gd name="connsiteY4" fmla="*/ 352153 h 351726"/>
                <a:gd name="connsiteX5" fmla="*/ 448290 w 451037"/>
                <a:gd name="connsiteY5" fmla="*/ 74744 h 351726"/>
                <a:gd name="connsiteX6" fmla="*/ 177887 w 451037"/>
                <a:gd name="connsiteY6" fmla="*/ 74744 h 351726"/>
                <a:gd name="connsiteX7" fmla="*/ 268839 w 451037"/>
                <a:gd name="connsiteY7" fmla="*/ 3103 h 351726"/>
                <a:gd name="connsiteX8" fmla="*/ 181379 w 451037"/>
                <a:gd name="connsiteY8" fmla="*/ 3103 h 35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037" h="351726">
                  <a:moveTo>
                    <a:pt x="181379" y="3103"/>
                  </a:moveTo>
                  <a:lnTo>
                    <a:pt x="21716" y="128856"/>
                  </a:lnTo>
                  <a:lnTo>
                    <a:pt x="290456" y="128856"/>
                  </a:lnTo>
                  <a:lnTo>
                    <a:pt x="3103" y="352153"/>
                  </a:lnTo>
                  <a:lnTo>
                    <a:pt x="91300" y="352153"/>
                  </a:lnTo>
                  <a:lnTo>
                    <a:pt x="448290" y="74744"/>
                  </a:lnTo>
                  <a:lnTo>
                    <a:pt x="177887" y="74744"/>
                  </a:lnTo>
                  <a:lnTo>
                    <a:pt x="268839" y="3103"/>
                  </a:lnTo>
                  <a:lnTo>
                    <a:pt x="181379" y="3103"/>
                  </a:lnTo>
                  <a:close/>
                </a:path>
              </a:pathLst>
            </a:custGeom>
            <a:solidFill>
              <a:srgbClr val="FAAF40"/>
            </a:solidFill>
            <a:ln w="9525" cap="flat">
              <a:noFill/>
              <a:prstDash val="solid"/>
              <a:round/>
            </a:ln>
          </p:spPr>
          <p:txBody>
            <a:bodyPr rtlCol="0" anchor="ctr"/>
            <a:lstStyle/>
            <a:p>
              <a:endParaRPr lang="en-US"/>
            </a:p>
          </p:txBody>
        </p:sp>
        <p:sp>
          <p:nvSpPr>
            <p:cNvPr id="67" name="Freeform: Shape 66">
              <a:extLst>
                <a:ext uri="{FF2B5EF4-FFF2-40B4-BE49-F238E27FC236}">
                  <a16:creationId xmlns:a16="http://schemas.microsoft.com/office/drawing/2014/main" id="{12A1B8A1-7889-4E9D-B125-D00AE11FA606}"/>
                </a:ext>
              </a:extLst>
            </p:cNvPr>
            <p:cNvSpPr/>
            <p:nvPr/>
          </p:nvSpPr>
          <p:spPr>
            <a:xfrm>
              <a:off x="9442887" y="5082899"/>
              <a:ext cx="93568" cy="33588"/>
            </a:xfrm>
            <a:custGeom>
              <a:avLst/>
              <a:gdLst>
                <a:gd name="connsiteX0" fmla="*/ 90563 w 161380"/>
                <a:gd name="connsiteY0" fmla="*/ 57224 h 57931"/>
                <a:gd name="connsiteX1" fmla="*/ 159266 w 161380"/>
                <a:gd name="connsiteY1" fmla="*/ 3103 h 57931"/>
                <a:gd name="connsiteX2" fmla="*/ 71814 w 161380"/>
                <a:gd name="connsiteY2" fmla="*/ 3103 h 57931"/>
                <a:gd name="connsiteX3" fmla="*/ 3103 w 161380"/>
                <a:gd name="connsiteY3" fmla="*/ 57224 h 57931"/>
                <a:gd name="connsiteX4" fmla="*/ 90563 w 161380"/>
                <a:gd name="connsiteY4" fmla="*/ 57224 h 57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80" h="57931">
                  <a:moveTo>
                    <a:pt x="90563" y="57224"/>
                  </a:moveTo>
                  <a:lnTo>
                    <a:pt x="159266" y="3103"/>
                  </a:lnTo>
                  <a:lnTo>
                    <a:pt x="71814" y="3103"/>
                  </a:lnTo>
                  <a:lnTo>
                    <a:pt x="3103" y="57224"/>
                  </a:lnTo>
                  <a:lnTo>
                    <a:pt x="90563" y="57224"/>
                  </a:lnTo>
                  <a:close/>
                </a:path>
              </a:pathLst>
            </a:custGeom>
            <a:solidFill>
              <a:srgbClr val="8B927D"/>
            </a:solidFill>
            <a:ln w="9525" cap="flat">
              <a:noFill/>
              <a:prstDash val="solid"/>
              <a:round/>
            </a:ln>
          </p:spPr>
          <p:txBody>
            <a:bodyPr rtlCol="0" anchor="ctr"/>
            <a:lstStyle/>
            <a:p>
              <a:endParaRPr lang="en-US"/>
            </a:p>
          </p:txBody>
        </p:sp>
        <p:sp>
          <p:nvSpPr>
            <p:cNvPr id="68" name="Freeform: Shape 67">
              <a:extLst>
                <a:ext uri="{FF2B5EF4-FFF2-40B4-BE49-F238E27FC236}">
                  <a16:creationId xmlns:a16="http://schemas.microsoft.com/office/drawing/2014/main" id="{3A11D049-BA57-448D-887A-B8C064FFCBCF}"/>
                </a:ext>
              </a:extLst>
            </p:cNvPr>
            <p:cNvSpPr/>
            <p:nvPr/>
          </p:nvSpPr>
          <p:spPr>
            <a:xfrm>
              <a:off x="9771706" y="5011190"/>
              <a:ext cx="136753" cy="175140"/>
            </a:xfrm>
            <a:custGeom>
              <a:avLst/>
              <a:gdLst>
                <a:gd name="connsiteX0" fmla="*/ 198697 w 235863"/>
                <a:gd name="connsiteY0" fmla="*/ 81750 h 302071"/>
                <a:gd name="connsiteX1" fmla="*/ 188194 w 235863"/>
                <a:gd name="connsiteY1" fmla="*/ 73929 h 302071"/>
                <a:gd name="connsiteX2" fmla="*/ 169665 w 235863"/>
                <a:gd name="connsiteY2" fmla="*/ 64254 h 302071"/>
                <a:gd name="connsiteX3" fmla="*/ 145991 w 235863"/>
                <a:gd name="connsiteY3" fmla="*/ 56222 h 302071"/>
                <a:gd name="connsiteX4" fmla="*/ 120051 w 235863"/>
                <a:gd name="connsiteY4" fmla="*/ 52929 h 302071"/>
                <a:gd name="connsiteX5" fmla="*/ 85047 w 235863"/>
                <a:gd name="connsiteY5" fmla="*/ 61573 h 302071"/>
                <a:gd name="connsiteX6" fmla="*/ 73519 w 235863"/>
                <a:gd name="connsiteY6" fmla="*/ 85867 h 302071"/>
                <a:gd name="connsiteX7" fmla="*/ 77843 w 235863"/>
                <a:gd name="connsiteY7" fmla="*/ 100896 h 302071"/>
                <a:gd name="connsiteX8" fmla="*/ 90402 w 235863"/>
                <a:gd name="connsiteY8" fmla="*/ 111402 h 302071"/>
                <a:gd name="connsiteX9" fmla="*/ 111195 w 235863"/>
                <a:gd name="connsiteY9" fmla="*/ 119633 h 302071"/>
                <a:gd name="connsiteX10" fmla="*/ 140223 w 235863"/>
                <a:gd name="connsiteY10" fmla="*/ 127462 h 302071"/>
                <a:gd name="connsiteX11" fmla="*/ 179141 w 235863"/>
                <a:gd name="connsiteY11" fmla="*/ 139809 h 302071"/>
                <a:gd name="connsiteX12" fmla="*/ 208781 w 235863"/>
                <a:gd name="connsiteY12" fmla="*/ 156278 h 302071"/>
                <a:gd name="connsiteX13" fmla="*/ 227526 w 235863"/>
                <a:gd name="connsiteY13" fmla="*/ 179960 h 302071"/>
                <a:gd name="connsiteX14" fmla="*/ 234113 w 235863"/>
                <a:gd name="connsiteY14" fmla="*/ 213929 h 302071"/>
                <a:gd name="connsiteX15" fmla="*/ 225258 w 235863"/>
                <a:gd name="connsiteY15" fmla="*/ 254083 h 302071"/>
                <a:gd name="connsiteX16" fmla="*/ 201585 w 235863"/>
                <a:gd name="connsiteY16" fmla="*/ 281055 h 302071"/>
                <a:gd name="connsiteX17" fmla="*/ 166987 w 235863"/>
                <a:gd name="connsiteY17" fmla="*/ 296088 h 302071"/>
                <a:gd name="connsiteX18" fmla="*/ 125819 w 235863"/>
                <a:gd name="connsiteY18" fmla="*/ 300817 h 302071"/>
                <a:gd name="connsiteX19" fmla="*/ 60754 w 235863"/>
                <a:gd name="connsiteY19" fmla="*/ 290932 h 302071"/>
                <a:gd name="connsiteX20" fmla="*/ 3103 w 235863"/>
                <a:gd name="connsiteY20" fmla="*/ 262930 h 302071"/>
                <a:gd name="connsiteX21" fmla="*/ 28221 w 235863"/>
                <a:gd name="connsiteY21" fmla="*/ 213929 h 302071"/>
                <a:gd name="connsiteX22" fmla="*/ 41607 w 235863"/>
                <a:gd name="connsiteY22" fmla="*/ 223607 h 302071"/>
                <a:gd name="connsiteX23" fmla="*/ 64461 w 235863"/>
                <a:gd name="connsiteY23" fmla="*/ 235554 h 302071"/>
                <a:gd name="connsiteX24" fmla="*/ 93696 w 235863"/>
                <a:gd name="connsiteY24" fmla="*/ 245638 h 302071"/>
                <a:gd name="connsiteX25" fmla="*/ 126638 w 235863"/>
                <a:gd name="connsiteY25" fmla="*/ 249755 h 302071"/>
                <a:gd name="connsiteX26" fmla="*/ 173575 w 235863"/>
                <a:gd name="connsiteY26" fmla="*/ 219697 h 302071"/>
                <a:gd name="connsiteX27" fmla="*/ 168233 w 235863"/>
                <a:gd name="connsiteY27" fmla="*/ 203224 h 302071"/>
                <a:gd name="connsiteX28" fmla="*/ 152989 w 235863"/>
                <a:gd name="connsiteY28" fmla="*/ 191695 h 302071"/>
                <a:gd name="connsiteX29" fmla="*/ 129108 w 235863"/>
                <a:gd name="connsiteY29" fmla="*/ 182641 h 302071"/>
                <a:gd name="connsiteX30" fmla="*/ 97813 w 235863"/>
                <a:gd name="connsiteY30" fmla="*/ 173993 h 302071"/>
                <a:gd name="connsiteX31" fmla="*/ 61370 w 235863"/>
                <a:gd name="connsiteY31" fmla="*/ 161430 h 302071"/>
                <a:gd name="connsiteX32" fmla="*/ 35636 w 235863"/>
                <a:gd name="connsiteY32" fmla="*/ 145574 h 302071"/>
                <a:gd name="connsiteX33" fmla="*/ 20193 w 235863"/>
                <a:gd name="connsiteY33" fmla="*/ 124168 h 302071"/>
                <a:gd name="connsiteX34" fmla="*/ 15046 w 235863"/>
                <a:gd name="connsiteY34" fmla="*/ 94929 h 302071"/>
                <a:gd name="connsiteX35" fmla="*/ 23280 w 235863"/>
                <a:gd name="connsiteY35" fmla="*/ 55399 h 302071"/>
                <a:gd name="connsiteX36" fmla="*/ 46134 w 235863"/>
                <a:gd name="connsiteY36" fmla="*/ 26574 h 302071"/>
                <a:gd name="connsiteX37" fmla="*/ 80107 w 235863"/>
                <a:gd name="connsiteY37" fmla="*/ 9075 h 302071"/>
                <a:gd name="connsiteX38" fmla="*/ 121697 w 235863"/>
                <a:gd name="connsiteY38" fmla="*/ 3103 h 302071"/>
                <a:gd name="connsiteX39" fmla="*/ 178520 w 235863"/>
                <a:gd name="connsiteY39" fmla="*/ 12778 h 302071"/>
                <a:gd name="connsiteX40" fmla="*/ 223814 w 235863"/>
                <a:gd name="connsiteY40" fmla="*/ 35632 h 302071"/>
                <a:gd name="connsiteX41" fmla="*/ 198697 w 235863"/>
                <a:gd name="connsiteY41" fmla="*/ 81750 h 30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5863" h="302071">
                  <a:moveTo>
                    <a:pt x="198697" y="81750"/>
                  </a:moveTo>
                  <a:cubicBezTo>
                    <a:pt x="196781" y="79834"/>
                    <a:pt x="193280" y="77218"/>
                    <a:pt x="188194" y="73929"/>
                  </a:cubicBezTo>
                  <a:cubicBezTo>
                    <a:pt x="183113" y="70635"/>
                    <a:pt x="176935" y="67412"/>
                    <a:pt x="169665" y="64254"/>
                  </a:cubicBezTo>
                  <a:cubicBezTo>
                    <a:pt x="162394" y="61097"/>
                    <a:pt x="154503" y="58424"/>
                    <a:pt x="145991" y="56222"/>
                  </a:cubicBezTo>
                  <a:cubicBezTo>
                    <a:pt x="137480" y="54029"/>
                    <a:pt x="128831" y="52929"/>
                    <a:pt x="120051" y="52929"/>
                  </a:cubicBezTo>
                  <a:cubicBezTo>
                    <a:pt x="104401" y="52929"/>
                    <a:pt x="92732" y="55813"/>
                    <a:pt x="85047" y="61573"/>
                  </a:cubicBezTo>
                  <a:cubicBezTo>
                    <a:pt x="77363" y="67341"/>
                    <a:pt x="73519" y="75439"/>
                    <a:pt x="73519" y="85867"/>
                  </a:cubicBezTo>
                  <a:cubicBezTo>
                    <a:pt x="73519" y="91908"/>
                    <a:pt x="74959" y="96919"/>
                    <a:pt x="77843" y="100896"/>
                  </a:cubicBezTo>
                  <a:cubicBezTo>
                    <a:pt x="80727" y="104881"/>
                    <a:pt x="84907" y="108382"/>
                    <a:pt x="90402" y="111402"/>
                  </a:cubicBezTo>
                  <a:cubicBezTo>
                    <a:pt x="95889" y="114423"/>
                    <a:pt x="102816" y="117162"/>
                    <a:pt x="111195" y="119633"/>
                  </a:cubicBezTo>
                  <a:cubicBezTo>
                    <a:pt x="119566" y="122107"/>
                    <a:pt x="129245" y="124718"/>
                    <a:pt x="140223" y="127462"/>
                  </a:cubicBezTo>
                  <a:cubicBezTo>
                    <a:pt x="154503" y="131306"/>
                    <a:pt x="167467" y="135423"/>
                    <a:pt x="179141" y="139809"/>
                  </a:cubicBezTo>
                  <a:cubicBezTo>
                    <a:pt x="190805" y="144204"/>
                    <a:pt x="200691" y="149695"/>
                    <a:pt x="208781" y="156278"/>
                  </a:cubicBezTo>
                  <a:cubicBezTo>
                    <a:pt x="216887" y="162866"/>
                    <a:pt x="223135" y="170765"/>
                    <a:pt x="227526" y="179960"/>
                  </a:cubicBezTo>
                  <a:cubicBezTo>
                    <a:pt x="231908" y="189163"/>
                    <a:pt x="234113" y="200488"/>
                    <a:pt x="234113" y="213929"/>
                  </a:cubicBezTo>
                  <a:cubicBezTo>
                    <a:pt x="234113" y="229578"/>
                    <a:pt x="231155" y="242965"/>
                    <a:pt x="225258" y="254083"/>
                  </a:cubicBezTo>
                  <a:cubicBezTo>
                    <a:pt x="219353" y="265198"/>
                    <a:pt x="211462" y="274194"/>
                    <a:pt x="201585" y="281055"/>
                  </a:cubicBezTo>
                  <a:cubicBezTo>
                    <a:pt x="191695" y="287915"/>
                    <a:pt x="180175" y="292930"/>
                    <a:pt x="166987" y="296088"/>
                  </a:cubicBezTo>
                  <a:cubicBezTo>
                    <a:pt x="153812" y="299228"/>
                    <a:pt x="140087" y="300817"/>
                    <a:pt x="125819" y="300817"/>
                  </a:cubicBezTo>
                  <a:cubicBezTo>
                    <a:pt x="103850" y="300817"/>
                    <a:pt x="82167" y="297524"/>
                    <a:pt x="60754" y="290932"/>
                  </a:cubicBezTo>
                  <a:cubicBezTo>
                    <a:pt x="39340" y="284348"/>
                    <a:pt x="20123" y="275017"/>
                    <a:pt x="3103" y="262930"/>
                  </a:cubicBezTo>
                  <a:lnTo>
                    <a:pt x="28221" y="213929"/>
                  </a:lnTo>
                  <a:cubicBezTo>
                    <a:pt x="30695" y="216403"/>
                    <a:pt x="35152" y="219631"/>
                    <a:pt x="41607" y="223607"/>
                  </a:cubicBezTo>
                  <a:cubicBezTo>
                    <a:pt x="48054" y="227588"/>
                    <a:pt x="55668" y="231577"/>
                    <a:pt x="64461" y="235554"/>
                  </a:cubicBezTo>
                  <a:cubicBezTo>
                    <a:pt x="73242" y="239534"/>
                    <a:pt x="82987" y="242898"/>
                    <a:pt x="93696" y="245638"/>
                  </a:cubicBezTo>
                  <a:cubicBezTo>
                    <a:pt x="104401" y="248385"/>
                    <a:pt x="115379" y="249755"/>
                    <a:pt x="126638" y="249755"/>
                  </a:cubicBezTo>
                  <a:cubicBezTo>
                    <a:pt x="157934" y="249755"/>
                    <a:pt x="173575" y="239737"/>
                    <a:pt x="173575" y="219697"/>
                  </a:cubicBezTo>
                  <a:cubicBezTo>
                    <a:pt x="173575" y="213109"/>
                    <a:pt x="171787" y="207618"/>
                    <a:pt x="168233" y="203224"/>
                  </a:cubicBezTo>
                  <a:cubicBezTo>
                    <a:pt x="164662" y="198841"/>
                    <a:pt x="159576" y="194989"/>
                    <a:pt x="152989" y="191695"/>
                  </a:cubicBezTo>
                  <a:cubicBezTo>
                    <a:pt x="146401" y="188397"/>
                    <a:pt x="138435" y="185385"/>
                    <a:pt x="129108" y="182641"/>
                  </a:cubicBezTo>
                  <a:cubicBezTo>
                    <a:pt x="119773" y="179894"/>
                    <a:pt x="109341" y="177014"/>
                    <a:pt x="97813" y="173993"/>
                  </a:cubicBezTo>
                  <a:cubicBezTo>
                    <a:pt x="83814" y="170149"/>
                    <a:pt x="71665" y="165957"/>
                    <a:pt x="61370" y="161430"/>
                  </a:cubicBezTo>
                  <a:cubicBezTo>
                    <a:pt x="51075" y="156903"/>
                    <a:pt x="42493" y="151615"/>
                    <a:pt x="35636" y="145574"/>
                  </a:cubicBezTo>
                  <a:cubicBezTo>
                    <a:pt x="28771" y="139536"/>
                    <a:pt x="23619" y="132398"/>
                    <a:pt x="20193" y="124168"/>
                  </a:cubicBezTo>
                  <a:cubicBezTo>
                    <a:pt x="16759" y="115925"/>
                    <a:pt x="15046" y="106188"/>
                    <a:pt x="15046" y="94929"/>
                  </a:cubicBezTo>
                  <a:cubicBezTo>
                    <a:pt x="15046" y="80103"/>
                    <a:pt x="17789" y="66932"/>
                    <a:pt x="23280" y="55399"/>
                  </a:cubicBezTo>
                  <a:cubicBezTo>
                    <a:pt x="28771" y="43871"/>
                    <a:pt x="36385" y="34266"/>
                    <a:pt x="46134" y="26574"/>
                  </a:cubicBezTo>
                  <a:cubicBezTo>
                    <a:pt x="55875" y="18890"/>
                    <a:pt x="67200" y="13059"/>
                    <a:pt x="80107" y="9075"/>
                  </a:cubicBezTo>
                  <a:cubicBezTo>
                    <a:pt x="93005" y="5098"/>
                    <a:pt x="106871" y="3103"/>
                    <a:pt x="121697" y="3103"/>
                  </a:cubicBezTo>
                  <a:cubicBezTo>
                    <a:pt x="142288" y="3103"/>
                    <a:pt x="161231" y="6335"/>
                    <a:pt x="178520" y="12778"/>
                  </a:cubicBezTo>
                  <a:cubicBezTo>
                    <a:pt x="195821" y="19233"/>
                    <a:pt x="210908" y="26851"/>
                    <a:pt x="223814" y="35632"/>
                  </a:cubicBezTo>
                  <a:lnTo>
                    <a:pt x="198697" y="81750"/>
                  </a:lnTo>
                  <a:close/>
                </a:path>
              </a:pathLst>
            </a:custGeom>
            <a:solidFill>
              <a:srgbClr val="000000"/>
            </a:solidFill>
            <a:ln w="9525" cap="flat">
              <a:noFill/>
              <a:prstDash val="solid"/>
              <a:round/>
            </a:ln>
          </p:spPr>
          <p:txBody>
            <a:bodyPr rtlCol="0" anchor="ctr"/>
            <a:lstStyle/>
            <a:p>
              <a:endParaRPr lang="en-US"/>
            </a:p>
          </p:txBody>
        </p:sp>
        <p:sp>
          <p:nvSpPr>
            <p:cNvPr id="69" name="Freeform: Shape 68">
              <a:extLst>
                <a:ext uri="{FF2B5EF4-FFF2-40B4-BE49-F238E27FC236}">
                  <a16:creationId xmlns:a16="http://schemas.microsoft.com/office/drawing/2014/main" id="{66BAE5D9-9499-4B3E-B652-D1B8A6C03C7F}"/>
                </a:ext>
              </a:extLst>
            </p:cNvPr>
            <p:cNvSpPr/>
            <p:nvPr/>
          </p:nvSpPr>
          <p:spPr>
            <a:xfrm>
              <a:off x="9915433" y="5012385"/>
              <a:ext cx="143951" cy="172741"/>
            </a:xfrm>
            <a:custGeom>
              <a:avLst/>
              <a:gdLst>
                <a:gd name="connsiteX0" fmla="*/ 246465 w 248277"/>
                <a:gd name="connsiteY0" fmla="*/ 52925 h 297933"/>
                <a:gd name="connsiteX1" fmla="*/ 153403 w 248277"/>
                <a:gd name="connsiteY1" fmla="*/ 52925 h 297933"/>
                <a:gd name="connsiteX2" fmla="*/ 153403 w 248277"/>
                <a:gd name="connsiteY2" fmla="*/ 295463 h 297933"/>
                <a:gd name="connsiteX3" fmla="*/ 96576 w 248277"/>
                <a:gd name="connsiteY3" fmla="*/ 295463 h 297933"/>
                <a:gd name="connsiteX4" fmla="*/ 96576 w 248277"/>
                <a:gd name="connsiteY4" fmla="*/ 52925 h 297933"/>
                <a:gd name="connsiteX5" fmla="*/ 3103 w 248277"/>
                <a:gd name="connsiteY5" fmla="*/ 52925 h 297933"/>
                <a:gd name="connsiteX6" fmla="*/ 3103 w 248277"/>
                <a:gd name="connsiteY6" fmla="*/ 3103 h 297933"/>
                <a:gd name="connsiteX7" fmla="*/ 246465 w 248277"/>
                <a:gd name="connsiteY7" fmla="*/ 3103 h 297933"/>
                <a:gd name="connsiteX8" fmla="*/ 246465 w 248277"/>
                <a:gd name="connsiteY8" fmla="*/ 52925 h 29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277" h="297933">
                  <a:moveTo>
                    <a:pt x="246465" y="52925"/>
                  </a:moveTo>
                  <a:lnTo>
                    <a:pt x="153403" y="52925"/>
                  </a:lnTo>
                  <a:lnTo>
                    <a:pt x="153403" y="295463"/>
                  </a:lnTo>
                  <a:lnTo>
                    <a:pt x="96576" y="295463"/>
                  </a:lnTo>
                  <a:lnTo>
                    <a:pt x="96576" y="52925"/>
                  </a:lnTo>
                  <a:lnTo>
                    <a:pt x="3103" y="52925"/>
                  </a:lnTo>
                  <a:lnTo>
                    <a:pt x="3103" y="3103"/>
                  </a:lnTo>
                  <a:lnTo>
                    <a:pt x="246465" y="3103"/>
                  </a:lnTo>
                  <a:lnTo>
                    <a:pt x="246465" y="52925"/>
                  </a:lnTo>
                  <a:close/>
                </a:path>
              </a:pathLst>
            </a:custGeom>
            <a:solidFill>
              <a:srgbClr val="000000"/>
            </a:solidFill>
            <a:ln w="9525" cap="flat">
              <a:noFill/>
              <a:prstDash val="solid"/>
              <a:round/>
            </a:ln>
          </p:spPr>
          <p:txBody>
            <a:bodyPr rtlCol="0" anchor="ctr"/>
            <a:lstStyle/>
            <a:p>
              <a:endParaRPr lang="en-US"/>
            </a:p>
          </p:txBody>
        </p:sp>
        <p:sp>
          <p:nvSpPr>
            <p:cNvPr id="72" name="Freeform: Shape 71">
              <a:extLst>
                <a:ext uri="{FF2B5EF4-FFF2-40B4-BE49-F238E27FC236}">
                  <a16:creationId xmlns:a16="http://schemas.microsoft.com/office/drawing/2014/main" id="{90DA641D-214D-483C-8419-01E7F630476A}"/>
                </a:ext>
              </a:extLst>
            </p:cNvPr>
            <p:cNvSpPr/>
            <p:nvPr/>
          </p:nvSpPr>
          <p:spPr>
            <a:xfrm>
              <a:off x="10062498" y="5011190"/>
              <a:ext cx="163144" cy="175140"/>
            </a:xfrm>
            <a:custGeom>
              <a:avLst/>
              <a:gdLst>
                <a:gd name="connsiteX0" fmla="*/ 60340 w 281381"/>
                <a:gd name="connsiteY0" fmla="*/ 151342 h 302071"/>
                <a:gd name="connsiteX1" fmla="*/ 65901 w 281381"/>
                <a:gd name="connsiteY1" fmla="*/ 187988 h 302071"/>
                <a:gd name="connsiteX2" fmla="*/ 81965 w 281381"/>
                <a:gd name="connsiteY2" fmla="*/ 219287 h 302071"/>
                <a:gd name="connsiteX3" fmla="*/ 107695 w 281381"/>
                <a:gd name="connsiteY3" fmla="*/ 241111 h 302071"/>
                <a:gd name="connsiteX4" fmla="*/ 142284 w 281381"/>
                <a:gd name="connsiteY4" fmla="*/ 249345 h 302071"/>
                <a:gd name="connsiteX5" fmla="*/ 177080 w 281381"/>
                <a:gd name="connsiteY5" fmla="*/ 240908 h 302071"/>
                <a:gd name="connsiteX6" fmla="*/ 202404 w 281381"/>
                <a:gd name="connsiteY6" fmla="*/ 218464 h 302071"/>
                <a:gd name="connsiteX7" fmla="*/ 218050 w 281381"/>
                <a:gd name="connsiteY7" fmla="*/ 186957 h 302071"/>
                <a:gd name="connsiteX8" fmla="*/ 223408 w 281381"/>
                <a:gd name="connsiteY8" fmla="*/ 151342 h 302071"/>
                <a:gd name="connsiteX9" fmla="*/ 217640 w 281381"/>
                <a:gd name="connsiteY9" fmla="*/ 114696 h 302071"/>
                <a:gd name="connsiteX10" fmla="*/ 201374 w 281381"/>
                <a:gd name="connsiteY10" fmla="*/ 83401 h 302071"/>
                <a:gd name="connsiteX11" fmla="*/ 175843 w 281381"/>
                <a:gd name="connsiteY11" fmla="*/ 61780 h 302071"/>
                <a:gd name="connsiteX12" fmla="*/ 141870 w 281381"/>
                <a:gd name="connsiteY12" fmla="*/ 53752 h 302071"/>
                <a:gd name="connsiteX13" fmla="*/ 107074 w 281381"/>
                <a:gd name="connsiteY13" fmla="*/ 62194 h 302071"/>
                <a:gd name="connsiteX14" fmla="*/ 81543 w 281381"/>
                <a:gd name="connsiteY14" fmla="*/ 84431 h 302071"/>
                <a:gd name="connsiteX15" fmla="*/ 65690 w 281381"/>
                <a:gd name="connsiteY15" fmla="*/ 115726 h 302071"/>
                <a:gd name="connsiteX16" fmla="*/ 60340 w 281381"/>
                <a:gd name="connsiteY16" fmla="*/ 151342 h 302071"/>
                <a:gd name="connsiteX17" fmla="*/ 141465 w 281381"/>
                <a:gd name="connsiteY17" fmla="*/ 299584 h 302071"/>
                <a:gd name="connsiteX18" fmla="*/ 85043 w 281381"/>
                <a:gd name="connsiteY18" fmla="*/ 287026 h 302071"/>
                <a:gd name="connsiteX19" fmla="*/ 41193 w 281381"/>
                <a:gd name="connsiteY19" fmla="*/ 253669 h 302071"/>
                <a:gd name="connsiteX20" fmla="*/ 12985 w 281381"/>
                <a:gd name="connsiteY20" fmla="*/ 206108 h 302071"/>
                <a:gd name="connsiteX21" fmla="*/ 3103 w 281381"/>
                <a:gd name="connsiteY21" fmla="*/ 151342 h 302071"/>
                <a:gd name="connsiteX22" fmla="*/ 13602 w 281381"/>
                <a:gd name="connsiteY22" fmla="*/ 95339 h 302071"/>
                <a:gd name="connsiteX23" fmla="*/ 42840 w 281381"/>
                <a:gd name="connsiteY23" fmla="*/ 47984 h 302071"/>
                <a:gd name="connsiteX24" fmla="*/ 87104 w 281381"/>
                <a:gd name="connsiteY24" fmla="*/ 15248 h 302071"/>
                <a:gd name="connsiteX25" fmla="*/ 142698 w 281381"/>
                <a:gd name="connsiteY25" fmla="*/ 3103 h 302071"/>
                <a:gd name="connsiteX26" fmla="*/ 199110 w 281381"/>
                <a:gd name="connsiteY26" fmla="*/ 16072 h 302071"/>
                <a:gd name="connsiteX27" fmla="*/ 242758 w 281381"/>
                <a:gd name="connsiteY27" fmla="*/ 50045 h 302071"/>
                <a:gd name="connsiteX28" fmla="*/ 270763 w 281381"/>
                <a:gd name="connsiteY28" fmla="*/ 97813 h 302071"/>
                <a:gd name="connsiteX29" fmla="*/ 280645 w 281381"/>
                <a:gd name="connsiteY29" fmla="*/ 152161 h 302071"/>
                <a:gd name="connsiteX30" fmla="*/ 270147 w 281381"/>
                <a:gd name="connsiteY30" fmla="*/ 207962 h 302071"/>
                <a:gd name="connsiteX31" fmla="*/ 241115 w 281381"/>
                <a:gd name="connsiteY31" fmla="*/ 254903 h 302071"/>
                <a:gd name="connsiteX32" fmla="*/ 197050 w 281381"/>
                <a:gd name="connsiteY32" fmla="*/ 287435 h 302071"/>
                <a:gd name="connsiteX33" fmla="*/ 141465 w 281381"/>
                <a:gd name="connsiteY33" fmla="*/ 299584 h 30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1381" h="302071">
                  <a:moveTo>
                    <a:pt x="60340" y="151342"/>
                  </a:moveTo>
                  <a:cubicBezTo>
                    <a:pt x="60340" y="163975"/>
                    <a:pt x="62194" y="176190"/>
                    <a:pt x="65901" y="187988"/>
                  </a:cubicBezTo>
                  <a:cubicBezTo>
                    <a:pt x="69609" y="199802"/>
                    <a:pt x="74959" y="210229"/>
                    <a:pt x="81965" y="219287"/>
                  </a:cubicBezTo>
                  <a:cubicBezTo>
                    <a:pt x="88962" y="228345"/>
                    <a:pt x="97536" y="235620"/>
                    <a:pt x="107695" y="241111"/>
                  </a:cubicBezTo>
                  <a:cubicBezTo>
                    <a:pt x="117853" y="246602"/>
                    <a:pt x="129377" y="249345"/>
                    <a:pt x="142284" y="249345"/>
                  </a:cubicBezTo>
                  <a:cubicBezTo>
                    <a:pt x="155463" y="249345"/>
                    <a:pt x="167058" y="246532"/>
                    <a:pt x="177080" y="240908"/>
                  </a:cubicBezTo>
                  <a:cubicBezTo>
                    <a:pt x="187098" y="235280"/>
                    <a:pt x="195535" y="227803"/>
                    <a:pt x="202404" y="218464"/>
                  </a:cubicBezTo>
                  <a:cubicBezTo>
                    <a:pt x="209265" y="209133"/>
                    <a:pt x="214479" y="198635"/>
                    <a:pt x="218050" y="186957"/>
                  </a:cubicBezTo>
                  <a:cubicBezTo>
                    <a:pt x="221621" y="175292"/>
                    <a:pt x="223408" y="163425"/>
                    <a:pt x="223408" y="151342"/>
                  </a:cubicBezTo>
                  <a:cubicBezTo>
                    <a:pt x="223408" y="138717"/>
                    <a:pt x="221480" y="126498"/>
                    <a:pt x="217640" y="114696"/>
                  </a:cubicBezTo>
                  <a:cubicBezTo>
                    <a:pt x="213792" y="102895"/>
                    <a:pt x="208375" y="92459"/>
                    <a:pt x="201374" y="83401"/>
                  </a:cubicBezTo>
                  <a:cubicBezTo>
                    <a:pt x="194372" y="74338"/>
                    <a:pt x="185865" y="67134"/>
                    <a:pt x="175843" y="61780"/>
                  </a:cubicBezTo>
                  <a:cubicBezTo>
                    <a:pt x="165821" y="56425"/>
                    <a:pt x="154499" y="53752"/>
                    <a:pt x="141870" y="53752"/>
                  </a:cubicBezTo>
                  <a:cubicBezTo>
                    <a:pt x="128699" y="53752"/>
                    <a:pt x="117092" y="56570"/>
                    <a:pt x="107074" y="62194"/>
                  </a:cubicBezTo>
                  <a:cubicBezTo>
                    <a:pt x="97052" y="67821"/>
                    <a:pt x="88552" y="75232"/>
                    <a:pt x="81543" y="84431"/>
                  </a:cubicBezTo>
                  <a:cubicBezTo>
                    <a:pt x="74545" y="93626"/>
                    <a:pt x="69261" y="104053"/>
                    <a:pt x="65690" y="115726"/>
                  </a:cubicBezTo>
                  <a:cubicBezTo>
                    <a:pt x="62123" y="127395"/>
                    <a:pt x="60340" y="139263"/>
                    <a:pt x="60340" y="151342"/>
                  </a:cubicBezTo>
                  <a:close/>
                  <a:moveTo>
                    <a:pt x="141465" y="299584"/>
                  </a:moveTo>
                  <a:cubicBezTo>
                    <a:pt x="120874" y="299584"/>
                    <a:pt x="102067" y="295401"/>
                    <a:pt x="85043" y="287026"/>
                  </a:cubicBezTo>
                  <a:cubicBezTo>
                    <a:pt x="68024" y="278650"/>
                    <a:pt x="53409" y="267536"/>
                    <a:pt x="41193" y="253669"/>
                  </a:cubicBezTo>
                  <a:cubicBezTo>
                    <a:pt x="28974" y="239807"/>
                    <a:pt x="19573" y="223955"/>
                    <a:pt x="12985" y="206108"/>
                  </a:cubicBezTo>
                  <a:cubicBezTo>
                    <a:pt x="6397" y="188265"/>
                    <a:pt x="3103" y="170016"/>
                    <a:pt x="3103" y="151342"/>
                  </a:cubicBezTo>
                  <a:cubicBezTo>
                    <a:pt x="3103" y="131852"/>
                    <a:pt x="6604" y="113186"/>
                    <a:pt x="13602" y="95339"/>
                  </a:cubicBezTo>
                  <a:cubicBezTo>
                    <a:pt x="20607" y="77496"/>
                    <a:pt x="30348" y="61718"/>
                    <a:pt x="42840" y="47984"/>
                  </a:cubicBezTo>
                  <a:cubicBezTo>
                    <a:pt x="55325" y="34266"/>
                    <a:pt x="70085" y="23351"/>
                    <a:pt x="87104" y="15248"/>
                  </a:cubicBezTo>
                  <a:cubicBezTo>
                    <a:pt x="104119" y="7155"/>
                    <a:pt x="122653" y="3103"/>
                    <a:pt x="142698" y="3103"/>
                  </a:cubicBezTo>
                  <a:cubicBezTo>
                    <a:pt x="163288" y="3103"/>
                    <a:pt x="182083" y="7428"/>
                    <a:pt x="199110" y="16072"/>
                  </a:cubicBezTo>
                  <a:cubicBezTo>
                    <a:pt x="216130" y="24720"/>
                    <a:pt x="230671" y="36046"/>
                    <a:pt x="242758" y="50045"/>
                  </a:cubicBezTo>
                  <a:cubicBezTo>
                    <a:pt x="254836" y="64047"/>
                    <a:pt x="264172" y="79970"/>
                    <a:pt x="270763" y="97813"/>
                  </a:cubicBezTo>
                  <a:cubicBezTo>
                    <a:pt x="277351" y="115660"/>
                    <a:pt x="280645" y="133780"/>
                    <a:pt x="280645" y="152161"/>
                  </a:cubicBezTo>
                  <a:cubicBezTo>
                    <a:pt x="280645" y="171659"/>
                    <a:pt x="277144" y="190259"/>
                    <a:pt x="270147" y="207962"/>
                  </a:cubicBezTo>
                  <a:cubicBezTo>
                    <a:pt x="263141" y="225668"/>
                    <a:pt x="253462" y="241318"/>
                    <a:pt x="241115" y="254903"/>
                  </a:cubicBezTo>
                  <a:cubicBezTo>
                    <a:pt x="228763" y="268496"/>
                    <a:pt x="214069" y="279337"/>
                    <a:pt x="197050" y="287435"/>
                  </a:cubicBezTo>
                  <a:cubicBezTo>
                    <a:pt x="180030" y="295533"/>
                    <a:pt x="161500" y="299584"/>
                    <a:pt x="141465" y="299584"/>
                  </a:cubicBezTo>
                  <a:close/>
                </a:path>
              </a:pathLst>
            </a:custGeom>
            <a:solidFill>
              <a:srgbClr val="000000"/>
            </a:solidFill>
            <a:ln w="9525" cap="flat">
              <a:noFill/>
              <a:prstDash val="solid"/>
              <a:round/>
            </a:ln>
          </p:spPr>
          <p:txBody>
            <a:bodyPr rtlCol="0" anchor="ctr"/>
            <a:lstStyle/>
            <a:p>
              <a:endParaRPr lang="en-US"/>
            </a:p>
          </p:txBody>
        </p:sp>
        <p:sp>
          <p:nvSpPr>
            <p:cNvPr id="73" name="Freeform: Shape 72">
              <a:extLst>
                <a:ext uri="{FF2B5EF4-FFF2-40B4-BE49-F238E27FC236}">
                  <a16:creationId xmlns:a16="http://schemas.microsoft.com/office/drawing/2014/main" id="{A9D448F5-999D-4A15-AD6B-0E5CCA900746}"/>
                </a:ext>
              </a:extLst>
            </p:cNvPr>
            <p:cNvSpPr/>
            <p:nvPr/>
          </p:nvSpPr>
          <p:spPr>
            <a:xfrm>
              <a:off x="10248959" y="5012385"/>
              <a:ext cx="141551" cy="172741"/>
            </a:xfrm>
            <a:custGeom>
              <a:avLst/>
              <a:gdLst>
                <a:gd name="connsiteX0" fmla="*/ 59930 w 244139"/>
                <a:gd name="connsiteY0" fmla="*/ 147634 h 297933"/>
                <a:gd name="connsiteX1" fmla="*/ 131169 w 244139"/>
                <a:gd name="connsiteY1" fmla="*/ 147634 h 297933"/>
                <a:gd name="connsiteX2" fmla="*/ 145785 w 244139"/>
                <a:gd name="connsiteY2" fmla="*/ 143927 h 297933"/>
                <a:gd name="connsiteX3" fmla="*/ 157520 w 244139"/>
                <a:gd name="connsiteY3" fmla="*/ 133838 h 297933"/>
                <a:gd name="connsiteX4" fmla="*/ 165345 w 244139"/>
                <a:gd name="connsiteY4" fmla="*/ 118813 h 297933"/>
                <a:gd name="connsiteX5" fmla="*/ 168225 w 244139"/>
                <a:gd name="connsiteY5" fmla="*/ 100279 h 297933"/>
                <a:gd name="connsiteX6" fmla="*/ 164931 w 244139"/>
                <a:gd name="connsiteY6" fmla="*/ 81340 h 297933"/>
                <a:gd name="connsiteX7" fmla="*/ 156084 w 244139"/>
                <a:gd name="connsiteY7" fmla="*/ 66311 h 297933"/>
                <a:gd name="connsiteX8" fmla="*/ 143318 w 244139"/>
                <a:gd name="connsiteY8" fmla="*/ 56429 h 297933"/>
                <a:gd name="connsiteX9" fmla="*/ 128699 w 244139"/>
                <a:gd name="connsiteY9" fmla="*/ 52925 h 297933"/>
                <a:gd name="connsiteX10" fmla="*/ 59930 w 244139"/>
                <a:gd name="connsiteY10" fmla="*/ 52925 h 297933"/>
                <a:gd name="connsiteX11" fmla="*/ 59930 w 244139"/>
                <a:gd name="connsiteY11" fmla="*/ 147634 h 297933"/>
                <a:gd name="connsiteX12" fmla="*/ 3103 w 244139"/>
                <a:gd name="connsiteY12" fmla="*/ 295463 h 297933"/>
                <a:gd name="connsiteX13" fmla="*/ 3103 w 244139"/>
                <a:gd name="connsiteY13" fmla="*/ 3103 h 297933"/>
                <a:gd name="connsiteX14" fmla="*/ 132402 w 244139"/>
                <a:gd name="connsiteY14" fmla="*/ 3103 h 297933"/>
                <a:gd name="connsiteX15" fmla="*/ 169673 w 244139"/>
                <a:gd name="connsiteY15" fmla="*/ 11541 h 297933"/>
                <a:gd name="connsiteX16" fmla="*/ 199110 w 244139"/>
                <a:gd name="connsiteY16" fmla="*/ 33778 h 297933"/>
                <a:gd name="connsiteX17" fmla="*/ 218468 w 244139"/>
                <a:gd name="connsiteY17" fmla="*/ 65074 h 297933"/>
                <a:gd name="connsiteX18" fmla="*/ 225465 w 244139"/>
                <a:gd name="connsiteY18" fmla="*/ 100279 h 297933"/>
                <a:gd name="connsiteX19" fmla="*/ 211264 w 244139"/>
                <a:gd name="connsiteY19" fmla="*/ 151958 h 297933"/>
                <a:gd name="connsiteX20" fmla="*/ 172760 w 244139"/>
                <a:gd name="connsiteY20" fmla="*/ 185517 h 297933"/>
                <a:gd name="connsiteX21" fmla="*/ 241520 w 244139"/>
                <a:gd name="connsiteY21" fmla="*/ 295463 h 297933"/>
                <a:gd name="connsiteX22" fmla="*/ 177287 w 244139"/>
                <a:gd name="connsiteY22" fmla="*/ 295463 h 297933"/>
                <a:gd name="connsiteX23" fmla="*/ 115933 w 244139"/>
                <a:gd name="connsiteY23" fmla="*/ 197464 h 297933"/>
                <a:gd name="connsiteX24" fmla="*/ 59930 w 244139"/>
                <a:gd name="connsiteY24" fmla="*/ 197464 h 297933"/>
                <a:gd name="connsiteX25" fmla="*/ 59930 w 244139"/>
                <a:gd name="connsiteY25" fmla="*/ 295463 h 297933"/>
                <a:gd name="connsiteX26" fmla="*/ 3103 w 244139"/>
                <a:gd name="connsiteY26" fmla="*/ 295463 h 29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4139" h="297933">
                  <a:moveTo>
                    <a:pt x="59930" y="147634"/>
                  </a:moveTo>
                  <a:lnTo>
                    <a:pt x="131169" y="147634"/>
                  </a:lnTo>
                  <a:cubicBezTo>
                    <a:pt x="136379" y="147634"/>
                    <a:pt x="141258" y="146401"/>
                    <a:pt x="145785" y="143927"/>
                  </a:cubicBezTo>
                  <a:cubicBezTo>
                    <a:pt x="150316" y="141456"/>
                    <a:pt x="154230" y="138100"/>
                    <a:pt x="157520" y="133838"/>
                  </a:cubicBezTo>
                  <a:cubicBezTo>
                    <a:pt x="160814" y="129584"/>
                    <a:pt x="163421" y="124569"/>
                    <a:pt x="165345" y="118813"/>
                  </a:cubicBezTo>
                  <a:cubicBezTo>
                    <a:pt x="167265" y="113045"/>
                    <a:pt x="168225" y="106867"/>
                    <a:pt x="168225" y="100279"/>
                  </a:cubicBezTo>
                  <a:cubicBezTo>
                    <a:pt x="168225" y="93423"/>
                    <a:pt x="167128" y="87104"/>
                    <a:pt x="164931" y="81340"/>
                  </a:cubicBezTo>
                  <a:cubicBezTo>
                    <a:pt x="162734" y="75572"/>
                    <a:pt x="159787" y="70569"/>
                    <a:pt x="156084" y="66311"/>
                  </a:cubicBezTo>
                  <a:cubicBezTo>
                    <a:pt x="152372" y="62057"/>
                    <a:pt x="148114" y="58763"/>
                    <a:pt x="143318" y="56429"/>
                  </a:cubicBezTo>
                  <a:cubicBezTo>
                    <a:pt x="138510" y="54096"/>
                    <a:pt x="133640" y="52925"/>
                    <a:pt x="128699" y="52925"/>
                  </a:cubicBezTo>
                  <a:lnTo>
                    <a:pt x="59930" y="52925"/>
                  </a:lnTo>
                  <a:lnTo>
                    <a:pt x="59930" y="147634"/>
                  </a:lnTo>
                  <a:close/>
                  <a:moveTo>
                    <a:pt x="3103" y="295463"/>
                  </a:moveTo>
                  <a:lnTo>
                    <a:pt x="3103" y="3103"/>
                  </a:lnTo>
                  <a:lnTo>
                    <a:pt x="132402" y="3103"/>
                  </a:lnTo>
                  <a:cubicBezTo>
                    <a:pt x="145847" y="3103"/>
                    <a:pt x="158273" y="5921"/>
                    <a:pt x="169673" y="11541"/>
                  </a:cubicBezTo>
                  <a:cubicBezTo>
                    <a:pt x="181057" y="17173"/>
                    <a:pt x="190876" y="24584"/>
                    <a:pt x="199110" y="33778"/>
                  </a:cubicBezTo>
                  <a:cubicBezTo>
                    <a:pt x="207345" y="42981"/>
                    <a:pt x="213792" y="53409"/>
                    <a:pt x="218468" y="65074"/>
                  </a:cubicBezTo>
                  <a:cubicBezTo>
                    <a:pt x="223127" y="76743"/>
                    <a:pt x="225465" y="88478"/>
                    <a:pt x="225465" y="100279"/>
                  </a:cubicBezTo>
                  <a:cubicBezTo>
                    <a:pt x="225465" y="119223"/>
                    <a:pt x="220736" y="136449"/>
                    <a:pt x="211264" y="151958"/>
                  </a:cubicBezTo>
                  <a:cubicBezTo>
                    <a:pt x="201792" y="167476"/>
                    <a:pt x="188952" y="178661"/>
                    <a:pt x="172760" y="185517"/>
                  </a:cubicBezTo>
                  <a:lnTo>
                    <a:pt x="241520" y="295463"/>
                  </a:lnTo>
                  <a:lnTo>
                    <a:pt x="177287" y="295463"/>
                  </a:lnTo>
                  <a:lnTo>
                    <a:pt x="115933" y="197464"/>
                  </a:lnTo>
                  <a:lnTo>
                    <a:pt x="59930" y="197464"/>
                  </a:lnTo>
                  <a:lnTo>
                    <a:pt x="59930" y="295463"/>
                  </a:lnTo>
                  <a:lnTo>
                    <a:pt x="3103" y="295463"/>
                  </a:lnTo>
                  <a:close/>
                </a:path>
              </a:pathLst>
            </a:custGeom>
            <a:solidFill>
              <a:srgbClr val="000000"/>
            </a:solidFill>
            <a:ln w="9525" cap="flat">
              <a:noFill/>
              <a:prstDash val="solid"/>
              <a:round/>
            </a:ln>
          </p:spPr>
          <p:txBody>
            <a:bodyPr rtlCol="0" anchor="ctr"/>
            <a:lstStyle/>
            <a:p>
              <a:endParaRPr lang="en-US"/>
            </a:p>
          </p:txBody>
        </p:sp>
        <p:sp>
          <p:nvSpPr>
            <p:cNvPr id="74" name="Freeform: Shape 73">
              <a:extLst>
                <a:ext uri="{FF2B5EF4-FFF2-40B4-BE49-F238E27FC236}">
                  <a16:creationId xmlns:a16="http://schemas.microsoft.com/office/drawing/2014/main" id="{D898788C-9D21-4CD2-99BB-8D0F8B6AF9AD}"/>
                </a:ext>
              </a:extLst>
            </p:cNvPr>
            <p:cNvSpPr/>
            <p:nvPr/>
          </p:nvSpPr>
          <p:spPr>
            <a:xfrm>
              <a:off x="10409872" y="5012385"/>
              <a:ext cx="172740" cy="172741"/>
            </a:xfrm>
            <a:custGeom>
              <a:avLst/>
              <a:gdLst>
                <a:gd name="connsiteX0" fmla="*/ 241529 w 297933"/>
                <a:gd name="connsiteY0" fmla="*/ 295463 h 297933"/>
                <a:gd name="connsiteX1" fmla="*/ 241529 w 297933"/>
                <a:gd name="connsiteY1" fmla="*/ 101926 h 297933"/>
                <a:gd name="connsiteX2" fmla="*/ 166176 w 297933"/>
                <a:gd name="connsiteY2" fmla="*/ 246052 h 297933"/>
                <a:gd name="connsiteX3" fmla="*/ 135291 w 297933"/>
                <a:gd name="connsiteY3" fmla="*/ 246052 h 297933"/>
                <a:gd name="connsiteX4" fmla="*/ 59934 w 297933"/>
                <a:gd name="connsiteY4" fmla="*/ 101926 h 297933"/>
                <a:gd name="connsiteX5" fmla="*/ 59934 w 297933"/>
                <a:gd name="connsiteY5" fmla="*/ 295463 h 297933"/>
                <a:gd name="connsiteX6" fmla="*/ 3103 w 297933"/>
                <a:gd name="connsiteY6" fmla="*/ 295463 h 297933"/>
                <a:gd name="connsiteX7" fmla="*/ 3103 w 297933"/>
                <a:gd name="connsiteY7" fmla="*/ 3103 h 297933"/>
                <a:gd name="connsiteX8" fmla="*/ 64052 w 297933"/>
                <a:gd name="connsiteY8" fmla="*/ 3103 h 297933"/>
                <a:gd name="connsiteX9" fmla="*/ 150522 w 297933"/>
                <a:gd name="connsiteY9" fmla="*/ 169458 h 297933"/>
                <a:gd name="connsiteX10" fmla="*/ 237821 w 297933"/>
                <a:gd name="connsiteY10" fmla="*/ 3103 h 297933"/>
                <a:gd name="connsiteX11" fmla="*/ 298351 w 297933"/>
                <a:gd name="connsiteY11" fmla="*/ 3103 h 297933"/>
                <a:gd name="connsiteX12" fmla="*/ 298351 w 297933"/>
                <a:gd name="connsiteY12" fmla="*/ 295463 h 297933"/>
                <a:gd name="connsiteX13" fmla="*/ 241529 w 297933"/>
                <a:gd name="connsiteY13" fmla="*/ 295463 h 29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7933" h="297933">
                  <a:moveTo>
                    <a:pt x="241529" y="295463"/>
                  </a:moveTo>
                  <a:lnTo>
                    <a:pt x="241529" y="101926"/>
                  </a:lnTo>
                  <a:lnTo>
                    <a:pt x="166176" y="246052"/>
                  </a:lnTo>
                  <a:lnTo>
                    <a:pt x="135291" y="246052"/>
                  </a:lnTo>
                  <a:lnTo>
                    <a:pt x="59934" y="101926"/>
                  </a:lnTo>
                  <a:lnTo>
                    <a:pt x="59934" y="295463"/>
                  </a:lnTo>
                  <a:lnTo>
                    <a:pt x="3103" y="295463"/>
                  </a:lnTo>
                  <a:lnTo>
                    <a:pt x="3103" y="3103"/>
                  </a:lnTo>
                  <a:lnTo>
                    <a:pt x="64052" y="3103"/>
                  </a:lnTo>
                  <a:lnTo>
                    <a:pt x="150522" y="169458"/>
                  </a:lnTo>
                  <a:lnTo>
                    <a:pt x="237821" y="3103"/>
                  </a:lnTo>
                  <a:lnTo>
                    <a:pt x="298351" y="3103"/>
                  </a:lnTo>
                  <a:lnTo>
                    <a:pt x="298351" y="295463"/>
                  </a:lnTo>
                  <a:lnTo>
                    <a:pt x="241529" y="295463"/>
                  </a:lnTo>
                  <a:close/>
                </a:path>
              </a:pathLst>
            </a:custGeom>
            <a:solidFill>
              <a:srgbClr val="000000"/>
            </a:solidFill>
            <a:ln w="9525" cap="flat">
              <a:noFill/>
              <a:prstDash val="solid"/>
              <a:round/>
            </a:ln>
          </p:spPr>
          <p:txBody>
            <a:bodyPr rtlCol="0" anchor="ctr"/>
            <a:lstStyle/>
            <a:p>
              <a:endParaRPr lang="en-US"/>
            </a:p>
          </p:txBody>
        </p:sp>
        <p:sp>
          <p:nvSpPr>
            <p:cNvPr id="75" name="Freeform: Shape 74">
              <a:extLst>
                <a:ext uri="{FF2B5EF4-FFF2-40B4-BE49-F238E27FC236}">
                  <a16:creationId xmlns:a16="http://schemas.microsoft.com/office/drawing/2014/main" id="{15B9F2AC-4EAD-432F-837C-079FDDEAF4AF}"/>
                </a:ext>
              </a:extLst>
            </p:cNvPr>
            <p:cNvSpPr/>
            <p:nvPr/>
          </p:nvSpPr>
          <p:spPr>
            <a:xfrm>
              <a:off x="10602849" y="5012908"/>
              <a:ext cx="28790" cy="35987"/>
            </a:xfrm>
            <a:custGeom>
              <a:avLst/>
              <a:gdLst>
                <a:gd name="connsiteX0" fmla="*/ 49854 w 49655"/>
                <a:gd name="connsiteY0" fmla="*/ 12675 h 62069"/>
                <a:gd name="connsiteX1" fmla="*/ 31974 w 49655"/>
                <a:gd name="connsiteY1" fmla="*/ 12675 h 62069"/>
                <a:gd name="connsiteX2" fmla="*/ 31974 w 49655"/>
                <a:gd name="connsiteY2" fmla="*/ 59264 h 62069"/>
                <a:gd name="connsiteX3" fmla="*/ 21058 w 49655"/>
                <a:gd name="connsiteY3" fmla="*/ 59264 h 62069"/>
                <a:gd name="connsiteX4" fmla="*/ 21058 w 49655"/>
                <a:gd name="connsiteY4" fmla="*/ 12675 h 62069"/>
                <a:gd name="connsiteX5" fmla="*/ 3103 w 49655"/>
                <a:gd name="connsiteY5" fmla="*/ 12675 h 62069"/>
                <a:gd name="connsiteX6" fmla="*/ 3103 w 49655"/>
                <a:gd name="connsiteY6" fmla="*/ 3103 h 62069"/>
                <a:gd name="connsiteX7" fmla="*/ 49854 w 49655"/>
                <a:gd name="connsiteY7" fmla="*/ 3103 h 62069"/>
                <a:gd name="connsiteX8" fmla="*/ 49854 w 49655"/>
                <a:gd name="connsiteY8" fmla="*/ 12675 h 6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55" h="62069">
                  <a:moveTo>
                    <a:pt x="49854" y="12675"/>
                  </a:moveTo>
                  <a:lnTo>
                    <a:pt x="31974" y="12675"/>
                  </a:lnTo>
                  <a:lnTo>
                    <a:pt x="31974" y="59264"/>
                  </a:lnTo>
                  <a:lnTo>
                    <a:pt x="21058" y="59264"/>
                  </a:lnTo>
                  <a:lnTo>
                    <a:pt x="21058" y="12675"/>
                  </a:lnTo>
                  <a:lnTo>
                    <a:pt x="3103" y="12675"/>
                  </a:lnTo>
                  <a:lnTo>
                    <a:pt x="3103" y="3103"/>
                  </a:lnTo>
                  <a:lnTo>
                    <a:pt x="49854" y="3103"/>
                  </a:lnTo>
                  <a:lnTo>
                    <a:pt x="49854" y="12675"/>
                  </a:lnTo>
                  <a:close/>
                </a:path>
              </a:pathLst>
            </a:custGeom>
            <a:solidFill>
              <a:srgbClr val="000000"/>
            </a:solidFill>
            <a:ln w="9525" cap="flat">
              <a:noFill/>
              <a:prstDash val="solid"/>
              <a:round/>
            </a:ln>
          </p:spPr>
          <p:txBody>
            <a:bodyPr rtlCol="0" anchor="ctr"/>
            <a:lstStyle/>
            <a:p>
              <a:endParaRPr lang="en-US"/>
            </a:p>
          </p:txBody>
        </p:sp>
        <p:sp>
          <p:nvSpPr>
            <p:cNvPr id="76" name="Freeform: Shape 75">
              <a:extLst>
                <a:ext uri="{FF2B5EF4-FFF2-40B4-BE49-F238E27FC236}">
                  <a16:creationId xmlns:a16="http://schemas.microsoft.com/office/drawing/2014/main" id="{FBAE88CA-C14F-4F5C-A4D8-A13FAD513354}"/>
                </a:ext>
              </a:extLst>
            </p:cNvPr>
            <p:cNvSpPr/>
            <p:nvPr/>
          </p:nvSpPr>
          <p:spPr>
            <a:xfrm>
              <a:off x="10634036" y="5012908"/>
              <a:ext cx="35987" cy="35987"/>
            </a:xfrm>
            <a:custGeom>
              <a:avLst/>
              <a:gdLst>
                <a:gd name="connsiteX0" fmla="*/ 48894 w 62069"/>
                <a:gd name="connsiteY0" fmla="*/ 59264 h 62069"/>
                <a:gd name="connsiteX1" fmla="*/ 48894 w 62069"/>
                <a:gd name="connsiteY1" fmla="*/ 22088 h 62069"/>
                <a:gd name="connsiteX2" fmla="*/ 34424 w 62069"/>
                <a:gd name="connsiteY2" fmla="*/ 49771 h 62069"/>
                <a:gd name="connsiteX3" fmla="*/ 28494 w 62069"/>
                <a:gd name="connsiteY3" fmla="*/ 49771 h 62069"/>
                <a:gd name="connsiteX4" fmla="*/ 14019 w 62069"/>
                <a:gd name="connsiteY4" fmla="*/ 22088 h 62069"/>
                <a:gd name="connsiteX5" fmla="*/ 14019 w 62069"/>
                <a:gd name="connsiteY5" fmla="*/ 59264 h 62069"/>
                <a:gd name="connsiteX6" fmla="*/ 3103 w 62069"/>
                <a:gd name="connsiteY6" fmla="*/ 59264 h 62069"/>
                <a:gd name="connsiteX7" fmla="*/ 3103 w 62069"/>
                <a:gd name="connsiteY7" fmla="*/ 3103 h 62069"/>
                <a:gd name="connsiteX8" fmla="*/ 14806 w 62069"/>
                <a:gd name="connsiteY8" fmla="*/ 3103 h 62069"/>
                <a:gd name="connsiteX9" fmla="*/ 31419 w 62069"/>
                <a:gd name="connsiteY9" fmla="*/ 35061 h 62069"/>
                <a:gd name="connsiteX10" fmla="*/ 48191 w 62069"/>
                <a:gd name="connsiteY10" fmla="*/ 3103 h 62069"/>
                <a:gd name="connsiteX11" fmla="*/ 59814 w 62069"/>
                <a:gd name="connsiteY11" fmla="*/ 3103 h 62069"/>
                <a:gd name="connsiteX12" fmla="*/ 59814 w 62069"/>
                <a:gd name="connsiteY12" fmla="*/ 59264 h 62069"/>
                <a:gd name="connsiteX13" fmla="*/ 48894 w 62069"/>
                <a:gd name="connsiteY13" fmla="*/ 59264 h 6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69" h="62069">
                  <a:moveTo>
                    <a:pt x="48894" y="59264"/>
                  </a:moveTo>
                  <a:lnTo>
                    <a:pt x="48894" y="22088"/>
                  </a:lnTo>
                  <a:lnTo>
                    <a:pt x="34424" y="49771"/>
                  </a:lnTo>
                  <a:lnTo>
                    <a:pt x="28494" y="49771"/>
                  </a:lnTo>
                  <a:lnTo>
                    <a:pt x="14019" y="22088"/>
                  </a:lnTo>
                  <a:lnTo>
                    <a:pt x="14019" y="59264"/>
                  </a:lnTo>
                  <a:lnTo>
                    <a:pt x="3103" y="59264"/>
                  </a:lnTo>
                  <a:lnTo>
                    <a:pt x="3103" y="3103"/>
                  </a:lnTo>
                  <a:lnTo>
                    <a:pt x="14806" y="3103"/>
                  </a:lnTo>
                  <a:lnTo>
                    <a:pt x="31419" y="35061"/>
                  </a:lnTo>
                  <a:lnTo>
                    <a:pt x="48191" y="3103"/>
                  </a:lnTo>
                  <a:lnTo>
                    <a:pt x="59814" y="3103"/>
                  </a:lnTo>
                  <a:lnTo>
                    <a:pt x="59814" y="59264"/>
                  </a:lnTo>
                  <a:lnTo>
                    <a:pt x="48894" y="59264"/>
                  </a:lnTo>
                  <a:close/>
                </a:path>
              </a:pathLst>
            </a:custGeom>
            <a:solidFill>
              <a:srgbClr val="000000"/>
            </a:solidFill>
            <a:ln w="9525" cap="flat">
              <a:noFill/>
              <a:prstDash val="solid"/>
              <a:round/>
            </a:ln>
          </p:spPr>
          <p:txBody>
            <a:bodyPr rtlCol="0" anchor="ctr"/>
            <a:lstStyle/>
            <a:p>
              <a:endParaRPr lang="en-US"/>
            </a:p>
          </p:txBody>
        </p:sp>
        <p:sp>
          <p:nvSpPr>
            <p:cNvPr id="77" name="Freeform: Shape 76">
              <a:extLst>
                <a:ext uri="{FF2B5EF4-FFF2-40B4-BE49-F238E27FC236}">
                  <a16:creationId xmlns:a16="http://schemas.microsoft.com/office/drawing/2014/main" id="{A609309E-380A-464D-B286-874E2DD66C01}"/>
                </a:ext>
              </a:extLst>
            </p:cNvPr>
            <p:cNvSpPr/>
            <p:nvPr/>
          </p:nvSpPr>
          <p:spPr>
            <a:xfrm>
              <a:off x="9779969" y="4874442"/>
              <a:ext cx="100765" cy="107963"/>
            </a:xfrm>
            <a:custGeom>
              <a:avLst/>
              <a:gdLst>
                <a:gd name="connsiteX0" fmla="*/ 87472 w 173794"/>
                <a:gd name="connsiteY0" fmla="*/ 24116 h 186208"/>
                <a:gd name="connsiteX1" fmla="*/ 49684 w 173794"/>
                <a:gd name="connsiteY1" fmla="*/ 114055 h 186208"/>
                <a:gd name="connsiteX2" fmla="*/ 124222 w 173794"/>
                <a:gd name="connsiteY2" fmla="*/ 114055 h 186208"/>
                <a:gd name="connsiteX3" fmla="*/ 87472 w 173794"/>
                <a:gd name="connsiteY3" fmla="*/ 24116 h 186208"/>
                <a:gd name="connsiteX4" fmla="*/ 3103 w 173794"/>
                <a:gd name="connsiteY4" fmla="*/ 185037 h 186208"/>
                <a:gd name="connsiteX5" fmla="*/ 79966 w 173794"/>
                <a:gd name="connsiteY5" fmla="*/ 3103 h 186208"/>
                <a:gd name="connsiteX6" fmla="*/ 94718 w 173794"/>
                <a:gd name="connsiteY6" fmla="*/ 3103 h 186208"/>
                <a:gd name="connsiteX7" fmla="*/ 171585 w 173794"/>
                <a:gd name="connsiteY7" fmla="*/ 185037 h 186208"/>
                <a:gd name="connsiteX8" fmla="*/ 152174 w 173794"/>
                <a:gd name="connsiteY8" fmla="*/ 185037 h 186208"/>
                <a:gd name="connsiteX9" fmla="*/ 128364 w 173794"/>
                <a:gd name="connsiteY9" fmla="*/ 128149 h 186208"/>
                <a:gd name="connsiteX10" fmla="*/ 45803 w 173794"/>
                <a:gd name="connsiteY10" fmla="*/ 128149 h 186208"/>
                <a:gd name="connsiteX11" fmla="*/ 22254 w 173794"/>
                <a:gd name="connsiteY11" fmla="*/ 185037 h 186208"/>
                <a:gd name="connsiteX12" fmla="*/ 3103 w 173794"/>
                <a:gd name="connsiteY12" fmla="*/ 185037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794" h="186208">
                  <a:moveTo>
                    <a:pt x="87472" y="24116"/>
                  </a:moveTo>
                  <a:lnTo>
                    <a:pt x="49684" y="114055"/>
                  </a:lnTo>
                  <a:lnTo>
                    <a:pt x="124222" y="114055"/>
                  </a:lnTo>
                  <a:lnTo>
                    <a:pt x="87472" y="24116"/>
                  </a:lnTo>
                  <a:close/>
                  <a:moveTo>
                    <a:pt x="3103" y="185037"/>
                  </a:moveTo>
                  <a:lnTo>
                    <a:pt x="79966" y="3103"/>
                  </a:lnTo>
                  <a:lnTo>
                    <a:pt x="94718" y="3103"/>
                  </a:lnTo>
                  <a:lnTo>
                    <a:pt x="171585" y="185037"/>
                  </a:lnTo>
                  <a:lnTo>
                    <a:pt x="152174" y="185037"/>
                  </a:lnTo>
                  <a:lnTo>
                    <a:pt x="128364" y="128149"/>
                  </a:lnTo>
                  <a:lnTo>
                    <a:pt x="45803" y="128149"/>
                  </a:lnTo>
                  <a:lnTo>
                    <a:pt x="22254" y="185037"/>
                  </a:lnTo>
                  <a:lnTo>
                    <a:pt x="3103" y="185037"/>
                  </a:lnTo>
                  <a:close/>
                </a:path>
              </a:pathLst>
            </a:custGeom>
            <a:solidFill>
              <a:srgbClr val="000000"/>
            </a:solidFill>
            <a:ln w="9525" cap="flat">
              <a:noFill/>
              <a:prstDash val="solid"/>
              <a:round/>
            </a:ln>
          </p:spPr>
          <p:txBody>
            <a:bodyPr rtlCol="0" anchor="ctr"/>
            <a:lstStyle/>
            <a:p>
              <a:endParaRPr lang="en-US"/>
            </a:p>
          </p:txBody>
        </p:sp>
        <p:sp>
          <p:nvSpPr>
            <p:cNvPr id="78" name="Freeform: Shape 77">
              <a:extLst>
                <a:ext uri="{FF2B5EF4-FFF2-40B4-BE49-F238E27FC236}">
                  <a16:creationId xmlns:a16="http://schemas.microsoft.com/office/drawing/2014/main" id="{24BA5710-47B5-4717-9240-79E88ACDA82F}"/>
                </a:ext>
              </a:extLst>
            </p:cNvPr>
            <p:cNvSpPr/>
            <p:nvPr/>
          </p:nvSpPr>
          <p:spPr>
            <a:xfrm>
              <a:off x="9893107" y="4874442"/>
              <a:ext cx="79173" cy="107963"/>
            </a:xfrm>
            <a:custGeom>
              <a:avLst/>
              <a:gdLst>
                <a:gd name="connsiteX0" fmla="*/ 20959 w 136552"/>
                <a:gd name="connsiteY0" fmla="*/ 102013 h 186208"/>
                <a:gd name="connsiteX1" fmla="*/ 79710 w 136552"/>
                <a:gd name="connsiteY1" fmla="*/ 102013 h 186208"/>
                <a:gd name="connsiteX2" fmla="*/ 94329 w 136552"/>
                <a:gd name="connsiteY2" fmla="*/ 98554 h 186208"/>
                <a:gd name="connsiteX3" fmla="*/ 105584 w 136552"/>
                <a:gd name="connsiteY3" fmla="*/ 89330 h 186208"/>
                <a:gd name="connsiteX4" fmla="*/ 112834 w 136552"/>
                <a:gd name="connsiteY4" fmla="*/ 76002 h 186208"/>
                <a:gd name="connsiteX5" fmla="*/ 115420 w 136552"/>
                <a:gd name="connsiteY5" fmla="*/ 60245 h 186208"/>
                <a:gd name="connsiteX6" fmla="*/ 112445 w 136552"/>
                <a:gd name="connsiteY6" fmla="*/ 44231 h 186208"/>
                <a:gd name="connsiteX7" fmla="*/ 104422 w 136552"/>
                <a:gd name="connsiteY7" fmla="*/ 31035 h 186208"/>
                <a:gd name="connsiteX8" fmla="*/ 92521 w 136552"/>
                <a:gd name="connsiteY8" fmla="*/ 22196 h 186208"/>
                <a:gd name="connsiteX9" fmla="*/ 78158 w 136552"/>
                <a:gd name="connsiteY9" fmla="*/ 18989 h 186208"/>
                <a:gd name="connsiteX10" fmla="*/ 20959 w 136552"/>
                <a:gd name="connsiteY10" fmla="*/ 18989 h 186208"/>
                <a:gd name="connsiteX11" fmla="*/ 20959 w 136552"/>
                <a:gd name="connsiteY11" fmla="*/ 102013 h 186208"/>
                <a:gd name="connsiteX12" fmla="*/ 3103 w 136552"/>
                <a:gd name="connsiteY12" fmla="*/ 185037 h 186208"/>
                <a:gd name="connsiteX13" fmla="*/ 3103 w 136552"/>
                <a:gd name="connsiteY13" fmla="*/ 3103 h 186208"/>
                <a:gd name="connsiteX14" fmla="*/ 79192 w 136552"/>
                <a:gd name="connsiteY14" fmla="*/ 3103 h 186208"/>
                <a:gd name="connsiteX15" fmla="*/ 101057 w 136552"/>
                <a:gd name="connsiteY15" fmla="*/ 8102 h 186208"/>
                <a:gd name="connsiteX16" fmla="*/ 118271 w 136552"/>
                <a:gd name="connsiteY16" fmla="*/ 21166 h 186208"/>
                <a:gd name="connsiteX17" fmla="*/ 129526 w 136552"/>
                <a:gd name="connsiteY17" fmla="*/ 39489 h 186208"/>
                <a:gd name="connsiteX18" fmla="*/ 133540 w 136552"/>
                <a:gd name="connsiteY18" fmla="*/ 60245 h 186208"/>
                <a:gd name="connsiteX19" fmla="*/ 129783 w 136552"/>
                <a:gd name="connsiteY19" fmla="*/ 81899 h 186208"/>
                <a:gd name="connsiteX20" fmla="*/ 119041 w 136552"/>
                <a:gd name="connsiteY20" fmla="*/ 100217 h 186208"/>
                <a:gd name="connsiteX21" fmla="*/ 102357 w 136552"/>
                <a:gd name="connsiteY21" fmla="*/ 113033 h 186208"/>
                <a:gd name="connsiteX22" fmla="*/ 80744 w 136552"/>
                <a:gd name="connsiteY22" fmla="*/ 117899 h 186208"/>
                <a:gd name="connsiteX23" fmla="*/ 20959 w 136552"/>
                <a:gd name="connsiteY23" fmla="*/ 117899 h 186208"/>
                <a:gd name="connsiteX24" fmla="*/ 20959 w 136552"/>
                <a:gd name="connsiteY24" fmla="*/ 185037 h 186208"/>
                <a:gd name="connsiteX25" fmla="*/ 3103 w 136552"/>
                <a:gd name="connsiteY25" fmla="*/ 185037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6552" h="186208">
                  <a:moveTo>
                    <a:pt x="20959" y="102013"/>
                  </a:moveTo>
                  <a:lnTo>
                    <a:pt x="79710" y="102013"/>
                  </a:lnTo>
                  <a:cubicBezTo>
                    <a:pt x="85052" y="102013"/>
                    <a:pt x="89930" y="100859"/>
                    <a:pt x="94329" y="98554"/>
                  </a:cubicBezTo>
                  <a:cubicBezTo>
                    <a:pt x="98728" y="96245"/>
                    <a:pt x="102485" y="93170"/>
                    <a:pt x="105584" y="89330"/>
                  </a:cubicBezTo>
                  <a:cubicBezTo>
                    <a:pt x="108692" y="85486"/>
                    <a:pt x="111108" y="81046"/>
                    <a:pt x="112834" y="76002"/>
                  </a:cubicBezTo>
                  <a:cubicBezTo>
                    <a:pt x="114555" y="70970"/>
                    <a:pt x="115420" y="65715"/>
                    <a:pt x="115420" y="60245"/>
                  </a:cubicBezTo>
                  <a:cubicBezTo>
                    <a:pt x="115420" y="54609"/>
                    <a:pt x="114427" y="49271"/>
                    <a:pt x="112445" y="44231"/>
                  </a:cubicBezTo>
                  <a:cubicBezTo>
                    <a:pt x="110459" y="39195"/>
                    <a:pt x="107790" y="34792"/>
                    <a:pt x="104422" y="31035"/>
                  </a:cubicBezTo>
                  <a:cubicBezTo>
                    <a:pt x="101057" y="27277"/>
                    <a:pt x="97089" y="24331"/>
                    <a:pt x="92521" y="22196"/>
                  </a:cubicBezTo>
                  <a:cubicBezTo>
                    <a:pt x="87948" y="20057"/>
                    <a:pt x="83157" y="18989"/>
                    <a:pt x="78158" y="18989"/>
                  </a:cubicBezTo>
                  <a:lnTo>
                    <a:pt x="20959" y="18989"/>
                  </a:lnTo>
                  <a:lnTo>
                    <a:pt x="20959" y="102013"/>
                  </a:lnTo>
                  <a:close/>
                  <a:moveTo>
                    <a:pt x="3103" y="185037"/>
                  </a:moveTo>
                  <a:lnTo>
                    <a:pt x="3103" y="3103"/>
                  </a:lnTo>
                  <a:lnTo>
                    <a:pt x="79192" y="3103"/>
                  </a:lnTo>
                  <a:cubicBezTo>
                    <a:pt x="87125" y="3103"/>
                    <a:pt x="94416" y="4767"/>
                    <a:pt x="101057" y="8102"/>
                  </a:cubicBezTo>
                  <a:cubicBezTo>
                    <a:pt x="107699" y="11433"/>
                    <a:pt x="113438" y="15786"/>
                    <a:pt x="118271" y="21166"/>
                  </a:cubicBezTo>
                  <a:cubicBezTo>
                    <a:pt x="123096" y="26549"/>
                    <a:pt x="126853" y="32661"/>
                    <a:pt x="129526" y="39489"/>
                  </a:cubicBezTo>
                  <a:cubicBezTo>
                    <a:pt x="132204" y="46324"/>
                    <a:pt x="133540" y="53243"/>
                    <a:pt x="133540" y="60245"/>
                  </a:cubicBezTo>
                  <a:cubicBezTo>
                    <a:pt x="133540" y="67763"/>
                    <a:pt x="132286" y="74980"/>
                    <a:pt x="129783" y="81899"/>
                  </a:cubicBezTo>
                  <a:cubicBezTo>
                    <a:pt x="127284" y="88817"/>
                    <a:pt x="123704" y="94925"/>
                    <a:pt x="119041" y="100217"/>
                  </a:cubicBezTo>
                  <a:cubicBezTo>
                    <a:pt x="114386" y="105514"/>
                    <a:pt x="108824" y="109784"/>
                    <a:pt x="102357" y="113033"/>
                  </a:cubicBezTo>
                  <a:cubicBezTo>
                    <a:pt x="95885" y="116277"/>
                    <a:pt x="88677" y="117899"/>
                    <a:pt x="80744" y="117899"/>
                  </a:cubicBezTo>
                  <a:lnTo>
                    <a:pt x="20959" y="117899"/>
                  </a:lnTo>
                  <a:lnTo>
                    <a:pt x="20959" y="185037"/>
                  </a:lnTo>
                  <a:lnTo>
                    <a:pt x="3103" y="185037"/>
                  </a:lnTo>
                  <a:close/>
                </a:path>
              </a:pathLst>
            </a:custGeom>
            <a:solidFill>
              <a:srgbClr val="000000"/>
            </a:solidFill>
            <a:ln w="9525" cap="flat">
              <a:noFill/>
              <a:prstDash val="solid"/>
              <a:round/>
            </a:ln>
          </p:spPr>
          <p:txBody>
            <a:bodyPr rtlCol="0" anchor="ctr"/>
            <a:lstStyle/>
            <a:p>
              <a:endParaRPr lang="en-US"/>
            </a:p>
          </p:txBody>
        </p:sp>
        <p:sp>
          <p:nvSpPr>
            <p:cNvPr id="79" name="Freeform: Shape 78">
              <a:extLst>
                <a:ext uri="{FF2B5EF4-FFF2-40B4-BE49-F238E27FC236}">
                  <a16:creationId xmlns:a16="http://schemas.microsoft.com/office/drawing/2014/main" id="{9E869134-4D35-404E-9023-0729B3E55578}"/>
                </a:ext>
              </a:extLst>
            </p:cNvPr>
            <p:cNvSpPr/>
            <p:nvPr/>
          </p:nvSpPr>
          <p:spPr>
            <a:xfrm>
              <a:off x="9967982" y="4874442"/>
              <a:ext cx="100765" cy="107963"/>
            </a:xfrm>
            <a:custGeom>
              <a:avLst/>
              <a:gdLst>
                <a:gd name="connsiteX0" fmla="*/ 87468 w 173794"/>
                <a:gd name="connsiteY0" fmla="*/ 24116 h 186208"/>
                <a:gd name="connsiteX1" fmla="*/ 49693 w 173794"/>
                <a:gd name="connsiteY1" fmla="*/ 114055 h 186208"/>
                <a:gd name="connsiteX2" fmla="*/ 124213 w 173794"/>
                <a:gd name="connsiteY2" fmla="*/ 114055 h 186208"/>
                <a:gd name="connsiteX3" fmla="*/ 87468 w 173794"/>
                <a:gd name="connsiteY3" fmla="*/ 24116 h 186208"/>
                <a:gd name="connsiteX4" fmla="*/ 3103 w 173794"/>
                <a:gd name="connsiteY4" fmla="*/ 185037 h 186208"/>
                <a:gd name="connsiteX5" fmla="*/ 79958 w 173794"/>
                <a:gd name="connsiteY5" fmla="*/ 3103 h 186208"/>
                <a:gd name="connsiteX6" fmla="*/ 94714 w 173794"/>
                <a:gd name="connsiteY6" fmla="*/ 3103 h 186208"/>
                <a:gd name="connsiteX7" fmla="*/ 171581 w 173794"/>
                <a:gd name="connsiteY7" fmla="*/ 185037 h 186208"/>
                <a:gd name="connsiteX8" fmla="*/ 152165 w 173794"/>
                <a:gd name="connsiteY8" fmla="*/ 185037 h 186208"/>
                <a:gd name="connsiteX9" fmla="*/ 128355 w 173794"/>
                <a:gd name="connsiteY9" fmla="*/ 128149 h 186208"/>
                <a:gd name="connsiteX10" fmla="*/ 45807 w 173794"/>
                <a:gd name="connsiteY10" fmla="*/ 128149 h 186208"/>
                <a:gd name="connsiteX11" fmla="*/ 22258 w 173794"/>
                <a:gd name="connsiteY11" fmla="*/ 185037 h 186208"/>
                <a:gd name="connsiteX12" fmla="*/ 3103 w 173794"/>
                <a:gd name="connsiteY12" fmla="*/ 185037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794" h="186208">
                  <a:moveTo>
                    <a:pt x="87468" y="24116"/>
                  </a:moveTo>
                  <a:lnTo>
                    <a:pt x="49693" y="114055"/>
                  </a:lnTo>
                  <a:lnTo>
                    <a:pt x="124213" y="114055"/>
                  </a:lnTo>
                  <a:lnTo>
                    <a:pt x="87468" y="24116"/>
                  </a:lnTo>
                  <a:close/>
                  <a:moveTo>
                    <a:pt x="3103" y="185037"/>
                  </a:moveTo>
                  <a:lnTo>
                    <a:pt x="79958" y="3103"/>
                  </a:lnTo>
                  <a:lnTo>
                    <a:pt x="94714" y="3103"/>
                  </a:lnTo>
                  <a:lnTo>
                    <a:pt x="171581" y="185037"/>
                  </a:lnTo>
                  <a:lnTo>
                    <a:pt x="152165" y="185037"/>
                  </a:lnTo>
                  <a:lnTo>
                    <a:pt x="128355" y="128149"/>
                  </a:lnTo>
                  <a:lnTo>
                    <a:pt x="45807" y="128149"/>
                  </a:lnTo>
                  <a:lnTo>
                    <a:pt x="22258" y="185037"/>
                  </a:lnTo>
                  <a:lnTo>
                    <a:pt x="3103" y="185037"/>
                  </a:lnTo>
                  <a:close/>
                </a:path>
              </a:pathLst>
            </a:custGeom>
            <a:solidFill>
              <a:srgbClr val="000000"/>
            </a:solidFill>
            <a:ln w="9525" cap="flat">
              <a:noFill/>
              <a:prstDash val="solid"/>
              <a:round/>
            </a:ln>
          </p:spPr>
          <p:txBody>
            <a:bodyPr rtlCol="0" anchor="ctr"/>
            <a:lstStyle/>
            <a:p>
              <a:endParaRPr lang="en-US"/>
            </a:p>
          </p:txBody>
        </p:sp>
        <p:sp>
          <p:nvSpPr>
            <p:cNvPr id="80" name="Freeform: Shape 79">
              <a:extLst>
                <a:ext uri="{FF2B5EF4-FFF2-40B4-BE49-F238E27FC236}">
                  <a16:creationId xmlns:a16="http://schemas.microsoft.com/office/drawing/2014/main" id="{986292B5-1F6C-42D1-98F1-F243B180005A}"/>
                </a:ext>
              </a:extLst>
            </p:cNvPr>
            <p:cNvSpPr/>
            <p:nvPr/>
          </p:nvSpPr>
          <p:spPr>
            <a:xfrm>
              <a:off x="10074213" y="4873847"/>
              <a:ext cx="93568" cy="110362"/>
            </a:xfrm>
            <a:custGeom>
              <a:avLst/>
              <a:gdLst>
                <a:gd name="connsiteX0" fmla="*/ 3103 w 161380"/>
                <a:gd name="connsiteY0" fmla="*/ 93816 h 190346"/>
                <a:gd name="connsiteX1" fmla="*/ 8926 w 161380"/>
                <a:gd name="connsiteY1" fmla="*/ 61143 h 190346"/>
                <a:gd name="connsiteX2" fmla="*/ 25879 w 161380"/>
                <a:gd name="connsiteY2" fmla="*/ 32061 h 190346"/>
                <a:gd name="connsiteX3" fmla="*/ 53314 w 161380"/>
                <a:gd name="connsiteY3" fmla="*/ 11177 h 190346"/>
                <a:gd name="connsiteX4" fmla="*/ 90323 w 161380"/>
                <a:gd name="connsiteY4" fmla="*/ 3103 h 190346"/>
                <a:gd name="connsiteX5" fmla="*/ 132249 w 161380"/>
                <a:gd name="connsiteY5" fmla="*/ 14123 h 190346"/>
                <a:gd name="connsiteX6" fmla="*/ 158128 w 161380"/>
                <a:gd name="connsiteY6" fmla="*/ 42824 h 190346"/>
                <a:gd name="connsiteX7" fmla="*/ 143633 w 161380"/>
                <a:gd name="connsiteY7" fmla="*/ 51534 h 190346"/>
                <a:gd name="connsiteX8" fmla="*/ 133027 w 161380"/>
                <a:gd name="connsiteY8" fmla="*/ 36414 h 190346"/>
                <a:gd name="connsiteX9" fmla="*/ 119566 w 161380"/>
                <a:gd name="connsiteY9" fmla="*/ 26421 h 190346"/>
                <a:gd name="connsiteX10" fmla="*/ 104558 w 161380"/>
                <a:gd name="connsiteY10" fmla="*/ 20913 h 190346"/>
                <a:gd name="connsiteX11" fmla="*/ 89285 w 161380"/>
                <a:gd name="connsiteY11" fmla="*/ 19250 h 190346"/>
                <a:gd name="connsiteX12" fmla="*/ 60042 w 161380"/>
                <a:gd name="connsiteY12" fmla="*/ 25912 h 190346"/>
                <a:gd name="connsiteX13" fmla="*/ 38694 w 161380"/>
                <a:gd name="connsiteY13" fmla="*/ 43337 h 190346"/>
                <a:gd name="connsiteX14" fmla="*/ 25622 w 161380"/>
                <a:gd name="connsiteY14" fmla="*/ 67548 h 190346"/>
                <a:gd name="connsiteX15" fmla="*/ 21224 w 161380"/>
                <a:gd name="connsiteY15" fmla="*/ 94838 h 190346"/>
                <a:gd name="connsiteX16" fmla="*/ 26524 w 161380"/>
                <a:gd name="connsiteY16" fmla="*/ 123795 h 190346"/>
                <a:gd name="connsiteX17" fmla="*/ 41016 w 161380"/>
                <a:gd name="connsiteY17" fmla="*/ 148267 h 190346"/>
                <a:gd name="connsiteX18" fmla="*/ 62761 w 161380"/>
                <a:gd name="connsiteY18" fmla="*/ 165179 h 190346"/>
                <a:gd name="connsiteX19" fmla="*/ 90067 w 161380"/>
                <a:gd name="connsiteY19" fmla="*/ 171456 h 190346"/>
                <a:gd name="connsiteX20" fmla="*/ 105977 w 161380"/>
                <a:gd name="connsiteY20" fmla="*/ 169536 h 190346"/>
                <a:gd name="connsiteX21" fmla="*/ 121768 w 161380"/>
                <a:gd name="connsiteY21" fmla="*/ 163383 h 190346"/>
                <a:gd name="connsiteX22" fmla="*/ 135870 w 161380"/>
                <a:gd name="connsiteY22" fmla="*/ 152877 h 190346"/>
                <a:gd name="connsiteX23" fmla="*/ 146740 w 161380"/>
                <a:gd name="connsiteY23" fmla="*/ 137633 h 190346"/>
                <a:gd name="connsiteX24" fmla="*/ 161749 w 161380"/>
                <a:gd name="connsiteY24" fmla="*/ 145321 h 190346"/>
                <a:gd name="connsiteX25" fmla="*/ 149331 w 161380"/>
                <a:gd name="connsiteY25" fmla="*/ 163383 h 190346"/>
                <a:gd name="connsiteX26" fmla="*/ 131475 w 161380"/>
                <a:gd name="connsiteY26" fmla="*/ 176583 h 190346"/>
                <a:gd name="connsiteX27" fmla="*/ 110633 w 161380"/>
                <a:gd name="connsiteY27" fmla="*/ 184781 h 190346"/>
                <a:gd name="connsiteX28" fmla="*/ 89028 w 161380"/>
                <a:gd name="connsiteY28" fmla="*/ 187603 h 190346"/>
                <a:gd name="connsiteX29" fmla="*/ 54348 w 161380"/>
                <a:gd name="connsiteY29" fmla="*/ 179401 h 190346"/>
                <a:gd name="connsiteX30" fmla="*/ 27174 w 161380"/>
                <a:gd name="connsiteY30" fmla="*/ 158004 h 190346"/>
                <a:gd name="connsiteX31" fmla="*/ 9443 w 161380"/>
                <a:gd name="connsiteY31" fmla="*/ 128024 h 190346"/>
                <a:gd name="connsiteX32" fmla="*/ 3103 w 161380"/>
                <a:gd name="connsiteY32" fmla="*/ 93816 h 1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380" h="190346">
                  <a:moveTo>
                    <a:pt x="3103" y="93816"/>
                  </a:moveTo>
                  <a:cubicBezTo>
                    <a:pt x="3103" y="82883"/>
                    <a:pt x="5048" y="71996"/>
                    <a:pt x="8926" y="61143"/>
                  </a:cubicBezTo>
                  <a:cubicBezTo>
                    <a:pt x="12811" y="50297"/>
                    <a:pt x="18455" y="40602"/>
                    <a:pt x="25879" y="32061"/>
                  </a:cubicBezTo>
                  <a:cubicBezTo>
                    <a:pt x="33294" y="23520"/>
                    <a:pt x="42443" y="16556"/>
                    <a:pt x="53314" y="11177"/>
                  </a:cubicBezTo>
                  <a:cubicBezTo>
                    <a:pt x="64184" y="5793"/>
                    <a:pt x="76511" y="3103"/>
                    <a:pt x="90323" y="3103"/>
                  </a:cubicBezTo>
                  <a:cubicBezTo>
                    <a:pt x="106710" y="3103"/>
                    <a:pt x="120688" y="6782"/>
                    <a:pt x="132249" y="14123"/>
                  </a:cubicBezTo>
                  <a:cubicBezTo>
                    <a:pt x="143807" y="21472"/>
                    <a:pt x="152438" y="31035"/>
                    <a:pt x="158128" y="42824"/>
                  </a:cubicBezTo>
                  <a:lnTo>
                    <a:pt x="143633" y="51534"/>
                  </a:lnTo>
                  <a:cubicBezTo>
                    <a:pt x="140699" y="45555"/>
                    <a:pt x="137165" y="40515"/>
                    <a:pt x="133027" y="36414"/>
                  </a:cubicBezTo>
                  <a:cubicBezTo>
                    <a:pt x="128885" y="32317"/>
                    <a:pt x="124395" y="28986"/>
                    <a:pt x="119566" y="26421"/>
                  </a:cubicBezTo>
                  <a:cubicBezTo>
                    <a:pt x="114733" y="23859"/>
                    <a:pt x="109730" y="22026"/>
                    <a:pt x="104558" y="20913"/>
                  </a:cubicBezTo>
                  <a:cubicBezTo>
                    <a:pt x="99377" y="19804"/>
                    <a:pt x="94288" y="19250"/>
                    <a:pt x="89285" y="19250"/>
                  </a:cubicBezTo>
                  <a:cubicBezTo>
                    <a:pt x="78245" y="19250"/>
                    <a:pt x="68492" y="21472"/>
                    <a:pt x="60042" y="25912"/>
                  </a:cubicBezTo>
                  <a:cubicBezTo>
                    <a:pt x="51588" y="30356"/>
                    <a:pt x="44471" y="36162"/>
                    <a:pt x="38694" y="43337"/>
                  </a:cubicBezTo>
                  <a:cubicBezTo>
                    <a:pt x="32905" y="50508"/>
                    <a:pt x="28552" y="58581"/>
                    <a:pt x="25622" y="67548"/>
                  </a:cubicBezTo>
                  <a:cubicBezTo>
                    <a:pt x="22688" y="76519"/>
                    <a:pt x="21224" y="85614"/>
                    <a:pt x="21224" y="94838"/>
                  </a:cubicBezTo>
                  <a:cubicBezTo>
                    <a:pt x="21224" y="104922"/>
                    <a:pt x="22991" y="114572"/>
                    <a:pt x="26524" y="123795"/>
                  </a:cubicBezTo>
                  <a:cubicBezTo>
                    <a:pt x="30062" y="133023"/>
                    <a:pt x="34895" y="141179"/>
                    <a:pt x="41016" y="148267"/>
                  </a:cubicBezTo>
                  <a:cubicBezTo>
                    <a:pt x="47144" y="155360"/>
                    <a:pt x="54389" y="160996"/>
                    <a:pt x="62761" y="165179"/>
                  </a:cubicBezTo>
                  <a:cubicBezTo>
                    <a:pt x="71123" y="169363"/>
                    <a:pt x="80231" y="171456"/>
                    <a:pt x="90067" y="171456"/>
                  </a:cubicBezTo>
                  <a:cubicBezTo>
                    <a:pt x="95239" y="171456"/>
                    <a:pt x="100548" y="170815"/>
                    <a:pt x="105977" y="169536"/>
                  </a:cubicBezTo>
                  <a:cubicBezTo>
                    <a:pt x="111415" y="168254"/>
                    <a:pt x="116674" y="166201"/>
                    <a:pt x="121768" y="163383"/>
                  </a:cubicBezTo>
                  <a:cubicBezTo>
                    <a:pt x="126849" y="160565"/>
                    <a:pt x="131554" y="157065"/>
                    <a:pt x="135870" y="152877"/>
                  </a:cubicBezTo>
                  <a:cubicBezTo>
                    <a:pt x="140182" y="148698"/>
                    <a:pt x="143807" y="143612"/>
                    <a:pt x="146740" y="137633"/>
                  </a:cubicBezTo>
                  <a:lnTo>
                    <a:pt x="161749" y="145321"/>
                  </a:lnTo>
                  <a:cubicBezTo>
                    <a:pt x="158815" y="152153"/>
                    <a:pt x="154673" y="158178"/>
                    <a:pt x="149331" y="163383"/>
                  </a:cubicBezTo>
                  <a:cubicBezTo>
                    <a:pt x="143980" y="168597"/>
                    <a:pt x="138030" y="172992"/>
                    <a:pt x="131475" y="176583"/>
                  </a:cubicBezTo>
                  <a:cubicBezTo>
                    <a:pt x="124917" y="180171"/>
                    <a:pt x="117969" y="182902"/>
                    <a:pt x="110633" y="184781"/>
                  </a:cubicBezTo>
                  <a:cubicBezTo>
                    <a:pt x="103300" y="186659"/>
                    <a:pt x="96104" y="187603"/>
                    <a:pt x="89028" y="187603"/>
                  </a:cubicBezTo>
                  <a:cubicBezTo>
                    <a:pt x="76432" y="187603"/>
                    <a:pt x="64871" y="184868"/>
                    <a:pt x="54348" y="179401"/>
                  </a:cubicBezTo>
                  <a:cubicBezTo>
                    <a:pt x="43825" y="173931"/>
                    <a:pt x="34767" y="166805"/>
                    <a:pt x="27174" y="158004"/>
                  </a:cubicBezTo>
                  <a:cubicBezTo>
                    <a:pt x="19581" y="149207"/>
                    <a:pt x="13672" y="139213"/>
                    <a:pt x="9443" y="128024"/>
                  </a:cubicBezTo>
                  <a:cubicBezTo>
                    <a:pt x="5218" y="116835"/>
                    <a:pt x="3103" y="105435"/>
                    <a:pt x="3103" y="93816"/>
                  </a:cubicBezTo>
                  <a:close/>
                </a:path>
              </a:pathLst>
            </a:custGeom>
            <a:solidFill>
              <a:srgbClr val="000000"/>
            </a:solidFill>
            <a:ln w="9525" cap="flat">
              <a:noFill/>
              <a:prstDash val="solid"/>
              <a:round/>
            </a:ln>
          </p:spPr>
          <p:txBody>
            <a:bodyPr rtlCol="0" anchor="ctr"/>
            <a:lstStyle/>
            <a:p>
              <a:endParaRPr lang="en-US"/>
            </a:p>
          </p:txBody>
        </p:sp>
        <p:sp>
          <p:nvSpPr>
            <p:cNvPr id="81" name="Freeform: Shape 80">
              <a:extLst>
                <a:ext uri="{FF2B5EF4-FFF2-40B4-BE49-F238E27FC236}">
                  <a16:creationId xmlns:a16="http://schemas.microsoft.com/office/drawing/2014/main" id="{BBAD332D-918F-4E01-A04B-DC91336AE44B}"/>
                </a:ext>
              </a:extLst>
            </p:cNvPr>
            <p:cNvSpPr/>
            <p:nvPr/>
          </p:nvSpPr>
          <p:spPr>
            <a:xfrm>
              <a:off x="10184505" y="4874442"/>
              <a:ext cx="86370" cy="107963"/>
            </a:xfrm>
            <a:custGeom>
              <a:avLst/>
              <a:gdLst>
                <a:gd name="connsiteX0" fmla="*/ 148031 w 148966"/>
                <a:gd name="connsiteY0" fmla="*/ 3103 h 186208"/>
                <a:gd name="connsiteX1" fmla="*/ 148031 w 148966"/>
                <a:gd name="connsiteY1" fmla="*/ 185037 h 186208"/>
                <a:gd name="connsiteX2" fmla="*/ 129915 w 148966"/>
                <a:gd name="connsiteY2" fmla="*/ 185037 h 186208"/>
                <a:gd name="connsiteX3" fmla="*/ 129915 w 148966"/>
                <a:gd name="connsiteY3" fmla="*/ 99961 h 186208"/>
                <a:gd name="connsiteX4" fmla="*/ 20959 w 148966"/>
                <a:gd name="connsiteY4" fmla="*/ 99961 h 186208"/>
                <a:gd name="connsiteX5" fmla="*/ 20959 w 148966"/>
                <a:gd name="connsiteY5" fmla="*/ 185037 h 186208"/>
                <a:gd name="connsiteX6" fmla="*/ 3103 w 148966"/>
                <a:gd name="connsiteY6" fmla="*/ 185037 h 186208"/>
                <a:gd name="connsiteX7" fmla="*/ 3103 w 148966"/>
                <a:gd name="connsiteY7" fmla="*/ 3103 h 186208"/>
                <a:gd name="connsiteX8" fmla="*/ 20959 w 148966"/>
                <a:gd name="connsiteY8" fmla="*/ 3103 h 186208"/>
                <a:gd name="connsiteX9" fmla="*/ 20959 w 148966"/>
                <a:gd name="connsiteY9" fmla="*/ 84079 h 186208"/>
                <a:gd name="connsiteX10" fmla="*/ 129915 w 148966"/>
                <a:gd name="connsiteY10" fmla="*/ 84079 h 186208"/>
                <a:gd name="connsiteX11" fmla="*/ 129915 w 148966"/>
                <a:gd name="connsiteY11" fmla="*/ 3103 h 186208"/>
                <a:gd name="connsiteX12" fmla="*/ 148031 w 148966"/>
                <a:gd name="connsiteY12" fmla="*/ 3103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966" h="186208">
                  <a:moveTo>
                    <a:pt x="148031" y="3103"/>
                  </a:moveTo>
                  <a:lnTo>
                    <a:pt x="148031" y="185037"/>
                  </a:lnTo>
                  <a:lnTo>
                    <a:pt x="129915" y="185037"/>
                  </a:lnTo>
                  <a:lnTo>
                    <a:pt x="129915" y="99961"/>
                  </a:lnTo>
                  <a:lnTo>
                    <a:pt x="20959" y="99961"/>
                  </a:lnTo>
                  <a:lnTo>
                    <a:pt x="20959" y="185037"/>
                  </a:lnTo>
                  <a:lnTo>
                    <a:pt x="3103" y="185037"/>
                  </a:lnTo>
                  <a:lnTo>
                    <a:pt x="3103" y="3103"/>
                  </a:lnTo>
                  <a:lnTo>
                    <a:pt x="20959" y="3103"/>
                  </a:lnTo>
                  <a:lnTo>
                    <a:pt x="20959" y="84079"/>
                  </a:lnTo>
                  <a:lnTo>
                    <a:pt x="129915" y="84079"/>
                  </a:lnTo>
                  <a:lnTo>
                    <a:pt x="129915" y="3103"/>
                  </a:lnTo>
                  <a:lnTo>
                    <a:pt x="148031" y="3103"/>
                  </a:lnTo>
                  <a:close/>
                </a:path>
              </a:pathLst>
            </a:custGeom>
            <a:solidFill>
              <a:srgbClr val="000000"/>
            </a:solidFill>
            <a:ln w="9525" cap="flat">
              <a:noFill/>
              <a:prstDash val="solid"/>
              <a:round/>
            </a:ln>
          </p:spPr>
          <p:txBody>
            <a:bodyPr rtlCol="0" anchor="ctr"/>
            <a:lstStyle/>
            <a:p>
              <a:endParaRPr lang="en-US"/>
            </a:p>
          </p:txBody>
        </p:sp>
        <p:sp>
          <p:nvSpPr>
            <p:cNvPr id="82" name="Freeform: Shape 81">
              <a:extLst>
                <a:ext uri="{FF2B5EF4-FFF2-40B4-BE49-F238E27FC236}">
                  <a16:creationId xmlns:a16="http://schemas.microsoft.com/office/drawing/2014/main" id="{B3A64061-A47C-42DC-982C-C4F3E18B3298}"/>
                </a:ext>
              </a:extLst>
            </p:cNvPr>
            <p:cNvSpPr/>
            <p:nvPr/>
          </p:nvSpPr>
          <p:spPr>
            <a:xfrm>
              <a:off x="10295393" y="4874442"/>
              <a:ext cx="74375" cy="107963"/>
            </a:xfrm>
            <a:custGeom>
              <a:avLst/>
              <a:gdLst>
                <a:gd name="connsiteX0" fmla="*/ 126551 w 128276"/>
                <a:gd name="connsiteY0" fmla="*/ 169147 h 186208"/>
                <a:gd name="connsiteX1" fmla="*/ 126551 w 128276"/>
                <a:gd name="connsiteY1" fmla="*/ 185037 h 186208"/>
                <a:gd name="connsiteX2" fmla="*/ 3103 w 128276"/>
                <a:gd name="connsiteY2" fmla="*/ 185037 h 186208"/>
                <a:gd name="connsiteX3" fmla="*/ 3103 w 128276"/>
                <a:gd name="connsiteY3" fmla="*/ 3103 h 186208"/>
                <a:gd name="connsiteX4" fmla="*/ 124218 w 128276"/>
                <a:gd name="connsiteY4" fmla="*/ 3103 h 186208"/>
                <a:gd name="connsiteX5" fmla="*/ 124218 w 128276"/>
                <a:gd name="connsiteY5" fmla="*/ 18989 h 186208"/>
                <a:gd name="connsiteX6" fmla="*/ 20959 w 128276"/>
                <a:gd name="connsiteY6" fmla="*/ 18989 h 186208"/>
                <a:gd name="connsiteX7" fmla="*/ 20959 w 128276"/>
                <a:gd name="connsiteY7" fmla="*/ 84588 h 186208"/>
                <a:gd name="connsiteX8" fmla="*/ 111017 w 128276"/>
                <a:gd name="connsiteY8" fmla="*/ 84588 h 186208"/>
                <a:gd name="connsiteX9" fmla="*/ 111017 w 128276"/>
                <a:gd name="connsiteY9" fmla="*/ 99708 h 186208"/>
                <a:gd name="connsiteX10" fmla="*/ 20959 w 128276"/>
                <a:gd name="connsiteY10" fmla="*/ 99708 h 186208"/>
                <a:gd name="connsiteX11" fmla="*/ 20959 w 128276"/>
                <a:gd name="connsiteY11" fmla="*/ 169147 h 186208"/>
                <a:gd name="connsiteX12" fmla="*/ 126551 w 128276"/>
                <a:gd name="connsiteY12" fmla="*/ 169147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276" h="186208">
                  <a:moveTo>
                    <a:pt x="126551" y="169147"/>
                  </a:moveTo>
                  <a:lnTo>
                    <a:pt x="126551" y="185037"/>
                  </a:lnTo>
                  <a:lnTo>
                    <a:pt x="3103" y="185037"/>
                  </a:lnTo>
                  <a:lnTo>
                    <a:pt x="3103" y="3103"/>
                  </a:lnTo>
                  <a:lnTo>
                    <a:pt x="124218" y="3103"/>
                  </a:lnTo>
                  <a:lnTo>
                    <a:pt x="124218" y="18989"/>
                  </a:lnTo>
                  <a:lnTo>
                    <a:pt x="20959" y="18989"/>
                  </a:lnTo>
                  <a:lnTo>
                    <a:pt x="20959" y="84588"/>
                  </a:lnTo>
                  <a:lnTo>
                    <a:pt x="111017" y="84588"/>
                  </a:lnTo>
                  <a:lnTo>
                    <a:pt x="111017" y="99708"/>
                  </a:lnTo>
                  <a:lnTo>
                    <a:pt x="20959" y="99708"/>
                  </a:lnTo>
                  <a:lnTo>
                    <a:pt x="20959" y="169147"/>
                  </a:lnTo>
                  <a:lnTo>
                    <a:pt x="126551" y="169147"/>
                  </a:lnTo>
                  <a:close/>
                </a:path>
              </a:pathLst>
            </a:custGeom>
            <a:solidFill>
              <a:srgbClr val="000000"/>
            </a:solidFill>
            <a:ln w="9525" cap="flat">
              <a:noFill/>
              <a:prstDash val="solid"/>
              <a:round/>
            </a:ln>
          </p:spPr>
          <p:txBody>
            <a:bodyPr rtlCol="0" anchor="ctr"/>
            <a:lstStyle/>
            <a:p>
              <a:endParaRPr lang="en-US"/>
            </a:p>
          </p:txBody>
        </p:sp>
      </p:grpSp>
      <p:grpSp>
        <p:nvGrpSpPr>
          <p:cNvPr id="2" name="Group 1">
            <a:extLst>
              <a:ext uri="{FF2B5EF4-FFF2-40B4-BE49-F238E27FC236}">
                <a16:creationId xmlns:a16="http://schemas.microsoft.com/office/drawing/2014/main" id="{CF56FB8E-9383-42D9-98AA-D191F1A719B5}"/>
              </a:ext>
            </a:extLst>
          </p:cNvPr>
          <p:cNvGrpSpPr/>
          <p:nvPr/>
        </p:nvGrpSpPr>
        <p:grpSpPr>
          <a:xfrm>
            <a:off x="6925202" y="5950863"/>
            <a:ext cx="1916768" cy="409719"/>
            <a:chOff x="6726257" y="6109814"/>
            <a:chExt cx="1261317" cy="269613"/>
          </a:xfrm>
        </p:grpSpPr>
        <p:grpSp>
          <p:nvGrpSpPr>
            <p:cNvPr id="84" name="Group 83">
              <a:extLst>
                <a:ext uri="{FF2B5EF4-FFF2-40B4-BE49-F238E27FC236}">
                  <a16:creationId xmlns:a16="http://schemas.microsoft.com/office/drawing/2014/main" id="{98DE6CE5-643D-4040-AEB0-99635F49AD65}"/>
                </a:ext>
              </a:extLst>
            </p:cNvPr>
            <p:cNvGrpSpPr/>
            <p:nvPr/>
          </p:nvGrpSpPr>
          <p:grpSpPr>
            <a:xfrm>
              <a:off x="6726257" y="6135808"/>
              <a:ext cx="876722" cy="217625"/>
              <a:chOff x="9809405" y="5085500"/>
              <a:chExt cx="1704542" cy="423112"/>
            </a:xfrm>
          </p:grpSpPr>
          <p:sp>
            <p:nvSpPr>
              <p:cNvPr id="86" name="Freeform: Shape 85">
                <a:extLst>
                  <a:ext uri="{FF2B5EF4-FFF2-40B4-BE49-F238E27FC236}">
                    <a16:creationId xmlns:a16="http://schemas.microsoft.com/office/drawing/2014/main" id="{FCA21A16-2AEA-4E80-8229-CA5F6764FD04}"/>
                  </a:ext>
                </a:extLst>
              </p:cNvPr>
              <p:cNvSpPr/>
              <p:nvPr/>
            </p:nvSpPr>
            <p:spPr>
              <a:xfrm>
                <a:off x="9809405" y="5238967"/>
                <a:ext cx="330636" cy="269645"/>
              </a:xfrm>
              <a:custGeom>
                <a:avLst/>
                <a:gdLst>
                  <a:gd name="connsiteX0" fmla="*/ 330934 w 330636"/>
                  <a:gd name="connsiteY0" fmla="*/ 268967 h 269644"/>
                  <a:gd name="connsiteX1" fmla="*/ 299171 w 330636"/>
                  <a:gd name="connsiteY1" fmla="*/ 268967 h 269644"/>
                  <a:gd name="connsiteX2" fmla="*/ 299171 w 330636"/>
                  <a:gd name="connsiteY2" fmla="*/ 103383 h 269644"/>
                  <a:gd name="connsiteX3" fmla="*/ 330934 w 330636"/>
                  <a:gd name="connsiteY3" fmla="*/ 103383 h 269644"/>
                  <a:gd name="connsiteX4" fmla="*/ 330934 w 330636"/>
                  <a:gd name="connsiteY4" fmla="*/ 268967 h 269644"/>
                  <a:gd name="connsiteX5" fmla="*/ 299561 w 330636"/>
                  <a:gd name="connsiteY5" fmla="*/ 103353 h 269644"/>
                  <a:gd name="connsiteX6" fmla="*/ 299171 w 330636"/>
                  <a:gd name="connsiteY6" fmla="*/ 809 h 269644"/>
                  <a:gd name="connsiteX7" fmla="*/ 330934 w 330636"/>
                  <a:gd name="connsiteY7" fmla="*/ 809 h 269644"/>
                  <a:gd name="connsiteX8" fmla="*/ 330804 w 330636"/>
                  <a:gd name="connsiteY8" fmla="*/ 103484 h 269644"/>
                  <a:gd name="connsiteX9" fmla="*/ 299171 w 330636"/>
                  <a:gd name="connsiteY9" fmla="*/ 268967 h 269644"/>
                  <a:gd name="connsiteX10" fmla="*/ 267404 w 330636"/>
                  <a:gd name="connsiteY10" fmla="*/ 268967 h 269644"/>
                  <a:gd name="connsiteX11" fmla="*/ 267404 w 330636"/>
                  <a:gd name="connsiteY11" fmla="*/ 165870 h 269644"/>
                  <a:gd name="connsiteX12" fmla="*/ 63296 w 330636"/>
                  <a:gd name="connsiteY12" fmla="*/ 165870 h 269644"/>
                  <a:gd name="connsiteX13" fmla="*/ 63296 w 330636"/>
                  <a:gd name="connsiteY13" fmla="*/ 268967 h 269644"/>
                  <a:gd name="connsiteX14" fmla="*/ 809 w 330636"/>
                  <a:gd name="connsiteY14" fmla="*/ 268967 h 269644"/>
                  <a:gd name="connsiteX15" fmla="*/ 809 w 330636"/>
                  <a:gd name="connsiteY15" fmla="*/ 809 h 269644"/>
                  <a:gd name="connsiteX16" fmla="*/ 63296 w 330636"/>
                  <a:gd name="connsiteY16" fmla="*/ 809 h 269644"/>
                  <a:gd name="connsiteX17" fmla="*/ 63296 w 330636"/>
                  <a:gd name="connsiteY17" fmla="*/ 103383 h 269644"/>
                  <a:gd name="connsiteX18" fmla="*/ 240260 w 330636"/>
                  <a:gd name="connsiteY18" fmla="*/ 103383 h 269644"/>
                  <a:gd name="connsiteX19" fmla="*/ 267407 w 330636"/>
                  <a:gd name="connsiteY19" fmla="*/ 103383 h 269644"/>
                  <a:gd name="connsiteX20" fmla="*/ 299174 w 330636"/>
                  <a:gd name="connsiteY20" fmla="*/ 103383 h 269644"/>
                  <a:gd name="connsiteX21" fmla="*/ 299174 w 330636"/>
                  <a:gd name="connsiteY21" fmla="*/ 268967 h 269644"/>
                  <a:gd name="connsiteX22" fmla="*/ 299171 w 330636"/>
                  <a:gd name="connsiteY22" fmla="*/ 809 h 269644"/>
                  <a:gd name="connsiteX23" fmla="*/ 267404 w 330636"/>
                  <a:gd name="connsiteY23" fmla="*/ 809 h 269644"/>
                  <a:gd name="connsiteX24" fmla="*/ 267404 w 330636"/>
                  <a:gd name="connsiteY24" fmla="*/ 103484 h 269644"/>
                  <a:gd name="connsiteX25" fmla="*/ 299561 w 330636"/>
                  <a:gd name="connsiteY25" fmla="*/ 103354 h 26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0636" h="269644">
                    <a:moveTo>
                      <a:pt x="330934" y="268967"/>
                    </a:moveTo>
                    <a:lnTo>
                      <a:pt x="299171" y="268967"/>
                    </a:lnTo>
                    <a:lnTo>
                      <a:pt x="299171" y="103383"/>
                    </a:lnTo>
                    <a:lnTo>
                      <a:pt x="330934" y="103383"/>
                    </a:lnTo>
                    <a:lnTo>
                      <a:pt x="330934" y="268967"/>
                    </a:lnTo>
                    <a:close/>
                    <a:moveTo>
                      <a:pt x="299561" y="103353"/>
                    </a:moveTo>
                    <a:lnTo>
                      <a:pt x="299171" y="809"/>
                    </a:lnTo>
                    <a:lnTo>
                      <a:pt x="330934" y="809"/>
                    </a:lnTo>
                    <a:lnTo>
                      <a:pt x="330804" y="103484"/>
                    </a:lnTo>
                    <a:close/>
                    <a:moveTo>
                      <a:pt x="299171" y="268967"/>
                    </a:moveTo>
                    <a:lnTo>
                      <a:pt x="267404" y="268967"/>
                    </a:lnTo>
                    <a:lnTo>
                      <a:pt x="267404" y="165870"/>
                    </a:lnTo>
                    <a:lnTo>
                      <a:pt x="63296" y="165870"/>
                    </a:lnTo>
                    <a:lnTo>
                      <a:pt x="63296" y="268967"/>
                    </a:lnTo>
                    <a:lnTo>
                      <a:pt x="809" y="268967"/>
                    </a:lnTo>
                    <a:lnTo>
                      <a:pt x="809" y="809"/>
                    </a:lnTo>
                    <a:lnTo>
                      <a:pt x="63296" y="809"/>
                    </a:lnTo>
                    <a:lnTo>
                      <a:pt x="63296" y="103383"/>
                    </a:lnTo>
                    <a:lnTo>
                      <a:pt x="240260" y="103383"/>
                    </a:lnTo>
                    <a:lnTo>
                      <a:pt x="267407" y="103383"/>
                    </a:lnTo>
                    <a:lnTo>
                      <a:pt x="299174" y="103383"/>
                    </a:lnTo>
                    <a:lnTo>
                      <a:pt x="299174" y="268967"/>
                    </a:lnTo>
                    <a:close/>
                    <a:moveTo>
                      <a:pt x="299171" y="809"/>
                    </a:moveTo>
                    <a:lnTo>
                      <a:pt x="267404" y="809"/>
                    </a:lnTo>
                    <a:lnTo>
                      <a:pt x="267404" y="103484"/>
                    </a:lnTo>
                    <a:lnTo>
                      <a:pt x="299561" y="103354"/>
                    </a:lnTo>
                    <a:close/>
                  </a:path>
                </a:pathLst>
              </a:custGeom>
              <a:solidFill>
                <a:srgbClr val="BA160C"/>
              </a:solidFill>
              <a:ln w="3199"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08552070-FDAE-4DC2-9202-90692C2CF70D}"/>
                  </a:ext>
                </a:extLst>
              </p:cNvPr>
              <p:cNvSpPr/>
              <p:nvPr/>
            </p:nvSpPr>
            <p:spPr>
              <a:xfrm>
                <a:off x="10165561" y="5238964"/>
                <a:ext cx="333846" cy="269645"/>
              </a:xfrm>
              <a:custGeom>
                <a:avLst/>
                <a:gdLst>
                  <a:gd name="connsiteX0" fmla="*/ 303337 w 333846"/>
                  <a:gd name="connsiteY0" fmla="*/ 133063 h 269644"/>
                  <a:gd name="connsiteX1" fmla="*/ 336141 w 333846"/>
                  <a:gd name="connsiteY1" fmla="*/ 195027 h 269644"/>
                  <a:gd name="connsiteX2" fmla="*/ 316874 w 333846"/>
                  <a:gd name="connsiteY2" fmla="*/ 246057 h 269644"/>
                  <a:gd name="connsiteX3" fmla="*/ 260637 w 333846"/>
                  <a:gd name="connsiteY3" fmla="*/ 268967 h 269644"/>
                  <a:gd name="connsiteX4" fmla="*/ 168736 w 333846"/>
                  <a:gd name="connsiteY4" fmla="*/ 268967 h 269644"/>
                  <a:gd name="connsiteX5" fmla="*/ 168736 w 333846"/>
                  <a:gd name="connsiteY5" fmla="*/ 206483 h 269644"/>
                  <a:gd name="connsiteX6" fmla="*/ 260637 w 333846"/>
                  <a:gd name="connsiteY6" fmla="*/ 206483 h 269644"/>
                  <a:gd name="connsiteX7" fmla="*/ 274177 w 333846"/>
                  <a:gd name="connsiteY7" fmla="*/ 186173 h 269644"/>
                  <a:gd name="connsiteX8" fmla="*/ 260637 w 333846"/>
                  <a:gd name="connsiteY8" fmla="*/ 165870 h 269644"/>
                  <a:gd name="connsiteX9" fmla="*/ 168736 w 333846"/>
                  <a:gd name="connsiteY9" fmla="*/ 165870 h 269644"/>
                  <a:gd name="connsiteX10" fmla="*/ 168736 w 333846"/>
                  <a:gd name="connsiteY10" fmla="*/ 103906 h 269644"/>
                  <a:gd name="connsiteX11" fmla="*/ 255954 w 333846"/>
                  <a:gd name="connsiteY11" fmla="*/ 103906 h 269644"/>
                  <a:gd name="connsiteX12" fmla="*/ 269491 w 333846"/>
                  <a:gd name="connsiteY12" fmla="*/ 83596 h 269644"/>
                  <a:gd name="connsiteX13" fmla="*/ 255954 w 333846"/>
                  <a:gd name="connsiteY13" fmla="*/ 63289 h 269644"/>
                  <a:gd name="connsiteX14" fmla="*/ 168736 w 333846"/>
                  <a:gd name="connsiteY14" fmla="*/ 63289 h 269644"/>
                  <a:gd name="connsiteX15" fmla="*/ 168736 w 333846"/>
                  <a:gd name="connsiteY15" fmla="*/ 809 h 269644"/>
                  <a:gd name="connsiteX16" fmla="*/ 255954 w 333846"/>
                  <a:gd name="connsiteY16" fmla="*/ 809 h 269644"/>
                  <a:gd name="connsiteX17" fmla="*/ 312191 w 333846"/>
                  <a:gd name="connsiteY17" fmla="*/ 23719 h 269644"/>
                  <a:gd name="connsiteX18" fmla="*/ 330934 w 333846"/>
                  <a:gd name="connsiteY18" fmla="*/ 74746 h 269644"/>
                  <a:gd name="connsiteX19" fmla="*/ 303337 w 333846"/>
                  <a:gd name="connsiteY19" fmla="*/ 133063 h 269644"/>
                  <a:gd name="connsiteX20" fmla="*/ 168736 w 333846"/>
                  <a:gd name="connsiteY20" fmla="*/ 268970 h 269644"/>
                  <a:gd name="connsiteX21" fmla="*/ 812 w 333846"/>
                  <a:gd name="connsiteY21" fmla="*/ 268970 h 269644"/>
                  <a:gd name="connsiteX22" fmla="*/ 812 w 333846"/>
                  <a:gd name="connsiteY22" fmla="*/ 103909 h 269644"/>
                  <a:gd name="connsiteX23" fmla="*/ 63299 w 333846"/>
                  <a:gd name="connsiteY23" fmla="*/ 103909 h 269644"/>
                  <a:gd name="connsiteX24" fmla="*/ 80180 w 333846"/>
                  <a:gd name="connsiteY24" fmla="*/ 103909 h 269644"/>
                  <a:gd name="connsiteX25" fmla="*/ 168740 w 333846"/>
                  <a:gd name="connsiteY25" fmla="*/ 103909 h 269644"/>
                  <a:gd name="connsiteX26" fmla="*/ 168740 w 333846"/>
                  <a:gd name="connsiteY26" fmla="*/ 165873 h 269644"/>
                  <a:gd name="connsiteX27" fmla="*/ 63299 w 333846"/>
                  <a:gd name="connsiteY27" fmla="*/ 165873 h 269644"/>
                  <a:gd name="connsiteX28" fmla="*/ 63299 w 333846"/>
                  <a:gd name="connsiteY28" fmla="*/ 206487 h 269644"/>
                  <a:gd name="connsiteX29" fmla="*/ 168740 w 333846"/>
                  <a:gd name="connsiteY29" fmla="*/ 206487 h 269644"/>
                  <a:gd name="connsiteX30" fmla="*/ 168740 w 333846"/>
                  <a:gd name="connsiteY30" fmla="*/ 268970 h 269644"/>
                  <a:gd name="connsiteX31" fmla="*/ 168736 w 333846"/>
                  <a:gd name="connsiteY31" fmla="*/ 63292 h 269644"/>
                  <a:gd name="connsiteX32" fmla="*/ 63296 w 333846"/>
                  <a:gd name="connsiteY32" fmla="*/ 63292 h 269644"/>
                  <a:gd name="connsiteX33" fmla="*/ 63426 w 333846"/>
                  <a:gd name="connsiteY33" fmla="*/ 105825 h 269644"/>
                  <a:gd name="connsiteX34" fmla="*/ 939 w 333846"/>
                  <a:gd name="connsiteY34" fmla="*/ 104264 h 269644"/>
                  <a:gd name="connsiteX35" fmla="*/ 809 w 333846"/>
                  <a:gd name="connsiteY35" fmla="*/ 809 h 269644"/>
                  <a:gd name="connsiteX36" fmla="*/ 168733 w 333846"/>
                  <a:gd name="connsiteY36" fmla="*/ 809 h 269644"/>
                  <a:gd name="connsiteX37" fmla="*/ 168733 w 333846"/>
                  <a:gd name="connsiteY37" fmla="*/ 63292 h 26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3846" h="269644">
                    <a:moveTo>
                      <a:pt x="303337" y="133063"/>
                    </a:moveTo>
                    <a:cubicBezTo>
                      <a:pt x="325204" y="146603"/>
                      <a:pt x="336141" y="167257"/>
                      <a:pt x="336141" y="195027"/>
                    </a:cubicBezTo>
                    <a:cubicBezTo>
                      <a:pt x="336141" y="215160"/>
                      <a:pt x="329721" y="232170"/>
                      <a:pt x="316874" y="246057"/>
                    </a:cubicBezTo>
                    <a:cubicBezTo>
                      <a:pt x="302991" y="261331"/>
                      <a:pt x="284244" y="268967"/>
                      <a:pt x="260637" y="268967"/>
                    </a:cubicBezTo>
                    <a:lnTo>
                      <a:pt x="168736" y="268967"/>
                    </a:lnTo>
                    <a:lnTo>
                      <a:pt x="168736" y="206483"/>
                    </a:lnTo>
                    <a:lnTo>
                      <a:pt x="260637" y="206483"/>
                    </a:lnTo>
                    <a:cubicBezTo>
                      <a:pt x="269664" y="206483"/>
                      <a:pt x="274177" y="199713"/>
                      <a:pt x="274177" y="186173"/>
                    </a:cubicBezTo>
                    <a:cubicBezTo>
                      <a:pt x="274177" y="172640"/>
                      <a:pt x="269664" y="165870"/>
                      <a:pt x="260637" y="165870"/>
                    </a:cubicBezTo>
                    <a:lnTo>
                      <a:pt x="168736" y="165870"/>
                    </a:lnTo>
                    <a:lnTo>
                      <a:pt x="168736" y="103906"/>
                    </a:lnTo>
                    <a:lnTo>
                      <a:pt x="255954" y="103906"/>
                    </a:lnTo>
                    <a:cubicBezTo>
                      <a:pt x="264977" y="103906"/>
                      <a:pt x="269491" y="97136"/>
                      <a:pt x="269491" y="83596"/>
                    </a:cubicBezTo>
                    <a:cubicBezTo>
                      <a:pt x="269491" y="70062"/>
                      <a:pt x="264977" y="63289"/>
                      <a:pt x="255954" y="63289"/>
                    </a:cubicBezTo>
                    <a:lnTo>
                      <a:pt x="168736" y="63289"/>
                    </a:lnTo>
                    <a:lnTo>
                      <a:pt x="168736" y="809"/>
                    </a:lnTo>
                    <a:lnTo>
                      <a:pt x="255954" y="809"/>
                    </a:lnTo>
                    <a:cubicBezTo>
                      <a:pt x="279557" y="809"/>
                      <a:pt x="298301" y="8445"/>
                      <a:pt x="312191" y="23719"/>
                    </a:cubicBezTo>
                    <a:cubicBezTo>
                      <a:pt x="324684" y="37602"/>
                      <a:pt x="330934" y="54616"/>
                      <a:pt x="330934" y="74746"/>
                    </a:cubicBezTo>
                    <a:cubicBezTo>
                      <a:pt x="330934" y="99743"/>
                      <a:pt x="321734" y="119180"/>
                      <a:pt x="303337" y="133063"/>
                    </a:cubicBezTo>
                    <a:close/>
                    <a:moveTo>
                      <a:pt x="168736" y="268970"/>
                    </a:moveTo>
                    <a:lnTo>
                      <a:pt x="812" y="268970"/>
                    </a:lnTo>
                    <a:lnTo>
                      <a:pt x="812" y="103909"/>
                    </a:lnTo>
                    <a:lnTo>
                      <a:pt x="63299" y="103909"/>
                    </a:lnTo>
                    <a:lnTo>
                      <a:pt x="80180" y="103909"/>
                    </a:lnTo>
                    <a:lnTo>
                      <a:pt x="168740" y="103909"/>
                    </a:lnTo>
                    <a:lnTo>
                      <a:pt x="168740" y="165873"/>
                    </a:lnTo>
                    <a:lnTo>
                      <a:pt x="63299" y="165873"/>
                    </a:lnTo>
                    <a:lnTo>
                      <a:pt x="63299" y="206487"/>
                    </a:lnTo>
                    <a:lnTo>
                      <a:pt x="168740" y="206487"/>
                    </a:lnTo>
                    <a:lnTo>
                      <a:pt x="168740" y="268970"/>
                    </a:lnTo>
                    <a:close/>
                    <a:moveTo>
                      <a:pt x="168736" y="63292"/>
                    </a:moveTo>
                    <a:lnTo>
                      <a:pt x="63296" y="63292"/>
                    </a:lnTo>
                    <a:lnTo>
                      <a:pt x="63426" y="105825"/>
                    </a:lnTo>
                    <a:lnTo>
                      <a:pt x="939" y="104264"/>
                    </a:lnTo>
                    <a:lnTo>
                      <a:pt x="809" y="809"/>
                    </a:lnTo>
                    <a:lnTo>
                      <a:pt x="168733" y="809"/>
                    </a:lnTo>
                    <a:lnTo>
                      <a:pt x="168733" y="63292"/>
                    </a:lnTo>
                    <a:close/>
                  </a:path>
                </a:pathLst>
              </a:custGeom>
              <a:solidFill>
                <a:srgbClr val="BA160C"/>
              </a:solidFill>
              <a:ln w="3199"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A15D017-0454-47DB-B8DE-B39CC7528F15}"/>
                  </a:ext>
                </a:extLst>
              </p:cNvPr>
              <p:cNvSpPr/>
              <p:nvPr/>
            </p:nvSpPr>
            <p:spPr>
              <a:xfrm>
                <a:off x="9809405" y="5085500"/>
                <a:ext cx="1704542" cy="121982"/>
              </a:xfrm>
              <a:custGeom>
                <a:avLst/>
                <a:gdLst>
                  <a:gd name="connsiteX0" fmla="*/ 721075 w 1704541"/>
                  <a:gd name="connsiteY0" fmla="*/ 84565 h 121982"/>
                  <a:gd name="connsiteX1" fmla="*/ 721075 w 1704541"/>
                  <a:gd name="connsiteY1" fmla="*/ 55932 h 121982"/>
                  <a:gd name="connsiteX2" fmla="*/ 767724 w 1704541"/>
                  <a:gd name="connsiteY2" fmla="*/ 55932 h 121982"/>
                  <a:gd name="connsiteX3" fmla="*/ 767724 w 1704541"/>
                  <a:gd name="connsiteY3" fmla="*/ 38748 h 121982"/>
                  <a:gd name="connsiteX4" fmla="*/ 761519 w 1704541"/>
                  <a:gd name="connsiteY4" fmla="*/ 29442 h 121982"/>
                  <a:gd name="connsiteX5" fmla="*/ 721072 w 1704541"/>
                  <a:gd name="connsiteY5" fmla="*/ 29442 h 121982"/>
                  <a:gd name="connsiteX6" fmla="*/ 721072 w 1704541"/>
                  <a:gd name="connsiteY6" fmla="*/ 812 h 121982"/>
                  <a:gd name="connsiteX7" fmla="*/ 761519 w 1704541"/>
                  <a:gd name="connsiteY7" fmla="*/ 812 h 121982"/>
                  <a:gd name="connsiteX8" fmla="*/ 786692 w 1704541"/>
                  <a:gd name="connsiteY8" fmla="*/ 12028 h 121982"/>
                  <a:gd name="connsiteX9" fmla="*/ 796358 w 1704541"/>
                  <a:gd name="connsiteY9" fmla="*/ 38752 h 121982"/>
                  <a:gd name="connsiteX10" fmla="*/ 796358 w 1704541"/>
                  <a:gd name="connsiteY10" fmla="*/ 123699 h 121982"/>
                  <a:gd name="connsiteX11" fmla="*/ 767721 w 1704541"/>
                  <a:gd name="connsiteY11" fmla="*/ 123699 h 121982"/>
                  <a:gd name="connsiteX12" fmla="*/ 767721 w 1704541"/>
                  <a:gd name="connsiteY12" fmla="*/ 84569 h 121982"/>
                  <a:gd name="connsiteX13" fmla="*/ 721075 w 1704541"/>
                  <a:gd name="connsiteY13" fmla="*/ 84569 h 121982"/>
                  <a:gd name="connsiteX14" fmla="*/ 721075 w 1704541"/>
                  <a:gd name="connsiteY14" fmla="*/ 84565 h 121982"/>
                  <a:gd name="connsiteX15" fmla="*/ 1101798 w 1704541"/>
                  <a:gd name="connsiteY15" fmla="*/ 123699 h 121982"/>
                  <a:gd name="connsiteX16" fmla="*/ 1006822 w 1704541"/>
                  <a:gd name="connsiteY16" fmla="*/ 123699 h 121982"/>
                  <a:gd name="connsiteX17" fmla="*/ 978429 w 1704541"/>
                  <a:gd name="connsiteY17" fmla="*/ 112599 h 121982"/>
                  <a:gd name="connsiteX18" fmla="*/ 966738 w 1704541"/>
                  <a:gd name="connsiteY18" fmla="*/ 84803 h 121982"/>
                  <a:gd name="connsiteX19" fmla="*/ 966738 w 1704541"/>
                  <a:gd name="connsiteY19" fmla="*/ 39705 h 121982"/>
                  <a:gd name="connsiteX20" fmla="*/ 978429 w 1704541"/>
                  <a:gd name="connsiteY20" fmla="*/ 11899 h 121982"/>
                  <a:gd name="connsiteX21" fmla="*/ 1006822 w 1704541"/>
                  <a:gd name="connsiteY21" fmla="*/ 809 h 121982"/>
                  <a:gd name="connsiteX22" fmla="*/ 1101798 w 1704541"/>
                  <a:gd name="connsiteY22" fmla="*/ 809 h 121982"/>
                  <a:gd name="connsiteX23" fmla="*/ 1101798 w 1704541"/>
                  <a:gd name="connsiteY23" fmla="*/ 29439 h 121982"/>
                  <a:gd name="connsiteX24" fmla="*/ 1006822 w 1704541"/>
                  <a:gd name="connsiteY24" fmla="*/ 29439 h 121982"/>
                  <a:gd name="connsiteX25" fmla="*/ 995372 w 1704541"/>
                  <a:gd name="connsiteY25" fmla="*/ 39702 h 121982"/>
                  <a:gd name="connsiteX26" fmla="*/ 995372 w 1704541"/>
                  <a:gd name="connsiteY26" fmla="*/ 84800 h 121982"/>
                  <a:gd name="connsiteX27" fmla="*/ 1006822 w 1704541"/>
                  <a:gd name="connsiteY27" fmla="*/ 95059 h 121982"/>
                  <a:gd name="connsiteX28" fmla="*/ 1101798 w 1704541"/>
                  <a:gd name="connsiteY28" fmla="*/ 95059 h 121982"/>
                  <a:gd name="connsiteX29" fmla="*/ 1101798 w 1704541"/>
                  <a:gd name="connsiteY29" fmla="*/ 123699 h 121982"/>
                  <a:gd name="connsiteX30" fmla="*/ 1101798 w 1704541"/>
                  <a:gd name="connsiteY30" fmla="*/ 123699 h 121982"/>
                  <a:gd name="connsiteX31" fmla="*/ 1403168 w 1704541"/>
                  <a:gd name="connsiteY31" fmla="*/ 123699 h 121982"/>
                  <a:gd name="connsiteX32" fmla="*/ 1374290 w 1704541"/>
                  <a:gd name="connsiteY32" fmla="*/ 123699 h 121982"/>
                  <a:gd name="connsiteX33" fmla="*/ 1374290 w 1704541"/>
                  <a:gd name="connsiteY33" fmla="*/ 76454 h 121982"/>
                  <a:gd name="connsiteX34" fmla="*/ 1300796 w 1704541"/>
                  <a:gd name="connsiteY34" fmla="*/ 76454 h 121982"/>
                  <a:gd name="connsiteX35" fmla="*/ 1300796 w 1704541"/>
                  <a:gd name="connsiteY35" fmla="*/ 123699 h 121982"/>
                  <a:gd name="connsiteX36" fmla="*/ 1272162 w 1704541"/>
                  <a:gd name="connsiteY36" fmla="*/ 123699 h 121982"/>
                  <a:gd name="connsiteX37" fmla="*/ 1272162 w 1704541"/>
                  <a:gd name="connsiteY37" fmla="*/ 812 h 121982"/>
                  <a:gd name="connsiteX38" fmla="*/ 1300796 w 1704541"/>
                  <a:gd name="connsiteY38" fmla="*/ 812 h 121982"/>
                  <a:gd name="connsiteX39" fmla="*/ 1300796 w 1704541"/>
                  <a:gd name="connsiteY39" fmla="*/ 47820 h 121982"/>
                  <a:gd name="connsiteX40" fmla="*/ 1374290 w 1704541"/>
                  <a:gd name="connsiteY40" fmla="*/ 47820 h 121982"/>
                  <a:gd name="connsiteX41" fmla="*/ 1374290 w 1704541"/>
                  <a:gd name="connsiteY41" fmla="*/ 812 h 121982"/>
                  <a:gd name="connsiteX42" fmla="*/ 1403168 w 1704541"/>
                  <a:gd name="connsiteY42" fmla="*/ 812 h 121982"/>
                  <a:gd name="connsiteX43" fmla="*/ 1403168 w 1704541"/>
                  <a:gd name="connsiteY43" fmla="*/ 123699 h 121982"/>
                  <a:gd name="connsiteX44" fmla="*/ 1403168 w 1704541"/>
                  <a:gd name="connsiteY44" fmla="*/ 123699 h 121982"/>
                  <a:gd name="connsiteX45" fmla="*/ 1704545 w 1704541"/>
                  <a:gd name="connsiteY45" fmla="*/ 29442 h 121982"/>
                  <a:gd name="connsiteX46" fmla="*/ 1602179 w 1704541"/>
                  <a:gd name="connsiteY46" fmla="*/ 29442 h 121982"/>
                  <a:gd name="connsiteX47" fmla="*/ 1602179 w 1704541"/>
                  <a:gd name="connsiteY47" fmla="*/ 47820 h 121982"/>
                  <a:gd name="connsiteX48" fmla="*/ 1697861 w 1704541"/>
                  <a:gd name="connsiteY48" fmla="*/ 47820 h 121982"/>
                  <a:gd name="connsiteX49" fmla="*/ 1697861 w 1704541"/>
                  <a:gd name="connsiteY49" fmla="*/ 76454 h 121982"/>
                  <a:gd name="connsiteX50" fmla="*/ 1602179 w 1704541"/>
                  <a:gd name="connsiteY50" fmla="*/ 76454 h 121982"/>
                  <a:gd name="connsiteX51" fmla="*/ 1602179 w 1704541"/>
                  <a:gd name="connsiteY51" fmla="*/ 95062 h 121982"/>
                  <a:gd name="connsiteX52" fmla="*/ 1704304 w 1704541"/>
                  <a:gd name="connsiteY52" fmla="*/ 95062 h 121982"/>
                  <a:gd name="connsiteX53" fmla="*/ 1704304 w 1704541"/>
                  <a:gd name="connsiteY53" fmla="*/ 123696 h 121982"/>
                  <a:gd name="connsiteX54" fmla="*/ 1573542 w 1704541"/>
                  <a:gd name="connsiteY54" fmla="*/ 123696 h 121982"/>
                  <a:gd name="connsiteX55" fmla="*/ 1573542 w 1704541"/>
                  <a:gd name="connsiteY55" fmla="*/ 809 h 121982"/>
                  <a:gd name="connsiteX56" fmla="*/ 1704541 w 1704541"/>
                  <a:gd name="connsiteY56" fmla="*/ 809 h 121982"/>
                  <a:gd name="connsiteX57" fmla="*/ 1704541 w 1704541"/>
                  <a:gd name="connsiteY57" fmla="*/ 29442 h 121982"/>
                  <a:gd name="connsiteX58" fmla="*/ 721075 w 1704541"/>
                  <a:gd name="connsiteY58" fmla="*/ 812 h 121982"/>
                  <a:gd name="connsiteX59" fmla="*/ 721075 w 1704541"/>
                  <a:gd name="connsiteY59" fmla="*/ 29442 h 121982"/>
                  <a:gd name="connsiteX60" fmla="*/ 680391 w 1704541"/>
                  <a:gd name="connsiteY60" fmla="*/ 29442 h 121982"/>
                  <a:gd name="connsiteX61" fmla="*/ 674427 w 1704541"/>
                  <a:gd name="connsiteY61" fmla="*/ 38748 h 121982"/>
                  <a:gd name="connsiteX62" fmla="*/ 674427 w 1704541"/>
                  <a:gd name="connsiteY62" fmla="*/ 55932 h 121982"/>
                  <a:gd name="connsiteX63" fmla="*/ 692323 w 1704541"/>
                  <a:gd name="connsiteY63" fmla="*/ 55932 h 121982"/>
                  <a:gd name="connsiteX64" fmla="*/ 700139 w 1704541"/>
                  <a:gd name="connsiteY64" fmla="*/ 55932 h 121982"/>
                  <a:gd name="connsiteX65" fmla="*/ 721075 w 1704541"/>
                  <a:gd name="connsiteY65" fmla="*/ 55932 h 121982"/>
                  <a:gd name="connsiteX66" fmla="*/ 721075 w 1704541"/>
                  <a:gd name="connsiteY66" fmla="*/ 84565 h 121982"/>
                  <a:gd name="connsiteX67" fmla="*/ 700139 w 1704541"/>
                  <a:gd name="connsiteY67" fmla="*/ 84565 h 121982"/>
                  <a:gd name="connsiteX68" fmla="*/ 692323 w 1704541"/>
                  <a:gd name="connsiteY68" fmla="*/ 84565 h 121982"/>
                  <a:gd name="connsiteX69" fmla="*/ 674427 w 1704541"/>
                  <a:gd name="connsiteY69" fmla="*/ 84565 h 121982"/>
                  <a:gd name="connsiteX70" fmla="*/ 674427 w 1704541"/>
                  <a:gd name="connsiteY70" fmla="*/ 123696 h 121982"/>
                  <a:gd name="connsiteX71" fmla="*/ 645793 w 1704541"/>
                  <a:gd name="connsiteY71" fmla="*/ 123696 h 121982"/>
                  <a:gd name="connsiteX72" fmla="*/ 645793 w 1704541"/>
                  <a:gd name="connsiteY72" fmla="*/ 38748 h 121982"/>
                  <a:gd name="connsiteX73" fmla="*/ 655459 w 1704541"/>
                  <a:gd name="connsiteY73" fmla="*/ 12025 h 121982"/>
                  <a:gd name="connsiteX74" fmla="*/ 680394 w 1704541"/>
                  <a:gd name="connsiteY74" fmla="*/ 809 h 121982"/>
                  <a:gd name="connsiteX75" fmla="*/ 721075 w 1704541"/>
                  <a:gd name="connsiteY75" fmla="*/ 809 h 121982"/>
                  <a:gd name="connsiteX76" fmla="*/ 721075 w 1704541"/>
                  <a:gd name="connsiteY76" fmla="*/ 812 h 121982"/>
                  <a:gd name="connsiteX77" fmla="*/ 398586 w 1704541"/>
                  <a:gd name="connsiteY77" fmla="*/ 83612 h 121982"/>
                  <a:gd name="connsiteX78" fmla="*/ 398586 w 1704541"/>
                  <a:gd name="connsiteY78" fmla="*/ 54978 h 121982"/>
                  <a:gd name="connsiteX79" fmla="*/ 440584 w 1704541"/>
                  <a:gd name="connsiteY79" fmla="*/ 54978 h 121982"/>
                  <a:gd name="connsiteX80" fmla="*/ 446789 w 1704541"/>
                  <a:gd name="connsiteY80" fmla="*/ 42334 h 121982"/>
                  <a:gd name="connsiteX81" fmla="*/ 440584 w 1704541"/>
                  <a:gd name="connsiteY81" fmla="*/ 29446 h 121982"/>
                  <a:gd name="connsiteX82" fmla="*/ 398586 w 1704541"/>
                  <a:gd name="connsiteY82" fmla="*/ 29446 h 121982"/>
                  <a:gd name="connsiteX83" fmla="*/ 398586 w 1704541"/>
                  <a:gd name="connsiteY83" fmla="*/ 815 h 121982"/>
                  <a:gd name="connsiteX84" fmla="*/ 440584 w 1704541"/>
                  <a:gd name="connsiteY84" fmla="*/ 815 h 121982"/>
                  <a:gd name="connsiteX85" fmla="*/ 466354 w 1704541"/>
                  <a:gd name="connsiteY85" fmla="*/ 13938 h 121982"/>
                  <a:gd name="connsiteX86" fmla="*/ 475422 w 1704541"/>
                  <a:gd name="connsiteY86" fmla="*/ 42334 h 121982"/>
                  <a:gd name="connsiteX87" fmla="*/ 466354 w 1704541"/>
                  <a:gd name="connsiteY87" fmla="*/ 70489 h 121982"/>
                  <a:gd name="connsiteX88" fmla="*/ 440584 w 1704541"/>
                  <a:gd name="connsiteY88" fmla="*/ 83612 h 121982"/>
                  <a:gd name="connsiteX89" fmla="*/ 398586 w 1704541"/>
                  <a:gd name="connsiteY89" fmla="*/ 83612 h 121982"/>
                  <a:gd name="connsiteX90" fmla="*/ 151373 w 1704541"/>
                  <a:gd name="connsiteY90" fmla="*/ 123699 h 121982"/>
                  <a:gd name="connsiteX91" fmla="*/ 122740 w 1704541"/>
                  <a:gd name="connsiteY91" fmla="*/ 123699 h 121982"/>
                  <a:gd name="connsiteX92" fmla="*/ 122740 w 1704541"/>
                  <a:gd name="connsiteY92" fmla="*/ 84569 h 121982"/>
                  <a:gd name="connsiteX93" fmla="*/ 76091 w 1704541"/>
                  <a:gd name="connsiteY93" fmla="*/ 84569 h 121982"/>
                  <a:gd name="connsiteX94" fmla="*/ 76091 w 1704541"/>
                  <a:gd name="connsiteY94" fmla="*/ 55935 h 121982"/>
                  <a:gd name="connsiteX95" fmla="*/ 122740 w 1704541"/>
                  <a:gd name="connsiteY95" fmla="*/ 55935 h 121982"/>
                  <a:gd name="connsiteX96" fmla="*/ 122740 w 1704541"/>
                  <a:gd name="connsiteY96" fmla="*/ 38752 h 121982"/>
                  <a:gd name="connsiteX97" fmla="*/ 116538 w 1704541"/>
                  <a:gd name="connsiteY97" fmla="*/ 29446 h 121982"/>
                  <a:gd name="connsiteX98" fmla="*/ 76091 w 1704541"/>
                  <a:gd name="connsiteY98" fmla="*/ 29446 h 121982"/>
                  <a:gd name="connsiteX99" fmla="*/ 76091 w 1704541"/>
                  <a:gd name="connsiteY99" fmla="*/ 815 h 121982"/>
                  <a:gd name="connsiteX100" fmla="*/ 116538 w 1704541"/>
                  <a:gd name="connsiteY100" fmla="*/ 815 h 121982"/>
                  <a:gd name="connsiteX101" fmla="*/ 141711 w 1704541"/>
                  <a:gd name="connsiteY101" fmla="*/ 12031 h 121982"/>
                  <a:gd name="connsiteX102" fmla="*/ 151373 w 1704541"/>
                  <a:gd name="connsiteY102" fmla="*/ 38755 h 121982"/>
                  <a:gd name="connsiteX103" fmla="*/ 151373 w 1704541"/>
                  <a:gd name="connsiteY103" fmla="*/ 123699 h 121982"/>
                  <a:gd name="connsiteX104" fmla="*/ 151373 w 1704541"/>
                  <a:gd name="connsiteY104" fmla="*/ 123699 h 121982"/>
                  <a:gd name="connsiteX105" fmla="*/ 398586 w 1704541"/>
                  <a:gd name="connsiteY105" fmla="*/ 812 h 121982"/>
                  <a:gd name="connsiteX106" fmla="*/ 398586 w 1704541"/>
                  <a:gd name="connsiteY106" fmla="*/ 29442 h 121982"/>
                  <a:gd name="connsiteX107" fmla="*/ 350384 w 1704541"/>
                  <a:gd name="connsiteY107" fmla="*/ 29442 h 121982"/>
                  <a:gd name="connsiteX108" fmla="*/ 350384 w 1704541"/>
                  <a:gd name="connsiteY108" fmla="*/ 54975 h 121982"/>
                  <a:gd name="connsiteX109" fmla="*/ 398586 w 1704541"/>
                  <a:gd name="connsiteY109" fmla="*/ 54975 h 121982"/>
                  <a:gd name="connsiteX110" fmla="*/ 398586 w 1704541"/>
                  <a:gd name="connsiteY110" fmla="*/ 83609 h 121982"/>
                  <a:gd name="connsiteX111" fmla="*/ 350384 w 1704541"/>
                  <a:gd name="connsiteY111" fmla="*/ 83609 h 121982"/>
                  <a:gd name="connsiteX112" fmla="*/ 350384 w 1704541"/>
                  <a:gd name="connsiteY112" fmla="*/ 123696 h 121982"/>
                  <a:gd name="connsiteX113" fmla="*/ 321750 w 1704541"/>
                  <a:gd name="connsiteY113" fmla="*/ 123696 h 121982"/>
                  <a:gd name="connsiteX114" fmla="*/ 321750 w 1704541"/>
                  <a:gd name="connsiteY114" fmla="*/ 809 h 121982"/>
                  <a:gd name="connsiteX115" fmla="*/ 398586 w 1704541"/>
                  <a:gd name="connsiteY115" fmla="*/ 809 h 121982"/>
                  <a:gd name="connsiteX116" fmla="*/ 76094 w 1704541"/>
                  <a:gd name="connsiteY116" fmla="*/ 84565 h 121982"/>
                  <a:gd name="connsiteX117" fmla="*/ 51685 w 1704541"/>
                  <a:gd name="connsiteY117" fmla="*/ 84565 h 121982"/>
                  <a:gd name="connsiteX118" fmla="*/ 47338 w 1704541"/>
                  <a:gd name="connsiteY118" fmla="*/ 84565 h 121982"/>
                  <a:gd name="connsiteX119" fmla="*/ 29442 w 1704541"/>
                  <a:gd name="connsiteY119" fmla="*/ 84565 h 121982"/>
                  <a:gd name="connsiteX120" fmla="*/ 29442 w 1704541"/>
                  <a:gd name="connsiteY120" fmla="*/ 123696 h 121982"/>
                  <a:gd name="connsiteX121" fmla="*/ 809 w 1704541"/>
                  <a:gd name="connsiteY121" fmla="*/ 123696 h 121982"/>
                  <a:gd name="connsiteX122" fmla="*/ 809 w 1704541"/>
                  <a:gd name="connsiteY122" fmla="*/ 38748 h 121982"/>
                  <a:gd name="connsiteX123" fmla="*/ 10471 w 1704541"/>
                  <a:gd name="connsiteY123" fmla="*/ 12025 h 121982"/>
                  <a:gd name="connsiteX124" fmla="*/ 35407 w 1704541"/>
                  <a:gd name="connsiteY124" fmla="*/ 809 h 121982"/>
                  <a:gd name="connsiteX125" fmla="*/ 76091 w 1704541"/>
                  <a:gd name="connsiteY125" fmla="*/ 809 h 121982"/>
                  <a:gd name="connsiteX126" fmla="*/ 76091 w 1704541"/>
                  <a:gd name="connsiteY126" fmla="*/ 29439 h 121982"/>
                  <a:gd name="connsiteX127" fmla="*/ 35407 w 1704541"/>
                  <a:gd name="connsiteY127" fmla="*/ 29439 h 121982"/>
                  <a:gd name="connsiteX128" fmla="*/ 29442 w 1704541"/>
                  <a:gd name="connsiteY128" fmla="*/ 38745 h 121982"/>
                  <a:gd name="connsiteX129" fmla="*/ 29442 w 1704541"/>
                  <a:gd name="connsiteY129" fmla="*/ 55928 h 121982"/>
                  <a:gd name="connsiteX130" fmla="*/ 47338 w 1704541"/>
                  <a:gd name="connsiteY130" fmla="*/ 55928 h 121982"/>
                  <a:gd name="connsiteX131" fmla="*/ 51685 w 1704541"/>
                  <a:gd name="connsiteY131" fmla="*/ 55928 h 121982"/>
                  <a:gd name="connsiteX132" fmla="*/ 76094 w 1704541"/>
                  <a:gd name="connsiteY132" fmla="*/ 55928 h 121982"/>
                  <a:gd name="connsiteX133" fmla="*/ 76094 w 1704541"/>
                  <a:gd name="connsiteY133" fmla="*/ 84565 h 12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704541" h="121982">
                    <a:moveTo>
                      <a:pt x="721075" y="84565"/>
                    </a:moveTo>
                    <a:lnTo>
                      <a:pt x="721075" y="55932"/>
                    </a:lnTo>
                    <a:lnTo>
                      <a:pt x="767724" y="55932"/>
                    </a:lnTo>
                    <a:lnTo>
                      <a:pt x="767724" y="38748"/>
                    </a:lnTo>
                    <a:cubicBezTo>
                      <a:pt x="767724" y="32546"/>
                      <a:pt x="765657" y="29442"/>
                      <a:pt x="761519" y="29442"/>
                    </a:cubicBezTo>
                    <a:lnTo>
                      <a:pt x="721072" y="29442"/>
                    </a:lnTo>
                    <a:lnTo>
                      <a:pt x="721072" y="812"/>
                    </a:lnTo>
                    <a:lnTo>
                      <a:pt x="761519" y="812"/>
                    </a:lnTo>
                    <a:cubicBezTo>
                      <a:pt x="771865" y="812"/>
                      <a:pt x="780253" y="4548"/>
                      <a:pt x="786692" y="12028"/>
                    </a:cubicBezTo>
                    <a:cubicBezTo>
                      <a:pt x="793135" y="19507"/>
                      <a:pt x="796358" y="28412"/>
                      <a:pt x="796358" y="38752"/>
                    </a:cubicBezTo>
                    <a:lnTo>
                      <a:pt x="796358" y="123699"/>
                    </a:lnTo>
                    <a:lnTo>
                      <a:pt x="767721" y="123699"/>
                    </a:lnTo>
                    <a:lnTo>
                      <a:pt x="767721" y="84569"/>
                    </a:lnTo>
                    <a:lnTo>
                      <a:pt x="721075" y="84569"/>
                    </a:lnTo>
                    <a:lnTo>
                      <a:pt x="721075" y="84565"/>
                    </a:lnTo>
                    <a:close/>
                    <a:moveTo>
                      <a:pt x="1101798" y="123699"/>
                    </a:moveTo>
                    <a:lnTo>
                      <a:pt x="1006822" y="123699"/>
                    </a:lnTo>
                    <a:cubicBezTo>
                      <a:pt x="995686" y="123699"/>
                      <a:pt x="986223" y="120001"/>
                      <a:pt x="978429" y="112599"/>
                    </a:cubicBezTo>
                    <a:cubicBezTo>
                      <a:pt x="970632" y="105203"/>
                      <a:pt x="966738" y="95935"/>
                      <a:pt x="966738" y="84803"/>
                    </a:cubicBezTo>
                    <a:lnTo>
                      <a:pt x="966738" y="39705"/>
                    </a:lnTo>
                    <a:cubicBezTo>
                      <a:pt x="966738" y="28566"/>
                      <a:pt x="970632" y="19302"/>
                      <a:pt x="978429" y="11899"/>
                    </a:cubicBezTo>
                    <a:cubicBezTo>
                      <a:pt x="986223" y="4503"/>
                      <a:pt x="995686" y="809"/>
                      <a:pt x="1006822" y="809"/>
                    </a:cubicBezTo>
                    <a:lnTo>
                      <a:pt x="1101798" y="809"/>
                    </a:lnTo>
                    <a:lnTo>
                      <a:pt x="1101798" y="29439"/>
                    </a:lnTo>
                    <a:lnTo>
                      <a:pt x="1006822" y="29439"/>
                    </a:lnTo>
                    <a:cubicBezTo>
                      <a:pt x="999188" y="29439"/>
                      <a:pt x="995372" y="32861"/>
                      <a:pt x="995372" y="39702"/>
                    </a:cubicBezTo>
                    <a:lnTo>
                      <a:pt x="995372" y="84800"/>
                    </a:lnTo>
                    <a:cubicBezTo>
                      <a:pt x="995372" y="91640"/>
                      <a:pt x="999188" y="95059"/>
                      <a:pt x="1006822" y="95059"/>
                    </a:cubicBezTo>
                    <a:lnTo>
                      <a:pt x="1101798" y="95059"/>
                    </a:lnTo>
                    <a:lnTo>
                      <a:pt x="1101798" y="123699"/>
                    </a:lnTo>
                    <a:lnTo>
                      <a:pt x="1101798" y="123699"/>
                    </a:lnTo>
                    <a:close/>
                    <a:moveTo>
                      <a:pt x="1403168" y="123699"/>
                    </a:moveTo>
                    <a:lnTo>
                      <a:pt x="1374290" y="123699"/>
                    </a:lnTo>
                    <a:lnTo>
                      <a:pt x="1374290" y="76454"/>
                    </a:lnTo>
                    <a:lnTo>
                      <a:pt x="1300796" y="76454"/>
                    </a:lnTo>
                    <a:lnTo>
                      <a:pt x="1300796" y="123699"/>
                    </a:lnTo>
                    <a:lnTo>
                      <a:pt x="1272162" y="123699"/>
                    </a:lnTo>
                    <a:lnTo>
                      <a:pt x="1272162" y="812"/>
                    </a:lnTo>
                    <a:lnTo>
                      <a:pt x="1300796" y="812"/>
                    </a:lnTo>
                    <a:lnTo>
                      <a:pt x="1300796" y="47820"/>
                    </a:lnTo>
                    <a:lnTo>
                      <a:pt x="1374290" y="47820"/>
                    </a:lnTo>
                    <a:lnTo>
                      <a:pt x="1374290" y="812"/>
                    </a:lnTo>
                    <a:lnTo>
                      <a:pt x="1403168" y="812"/>
                    </a:lnTo>
                    <a:lnTo>
                      <a:pt x="1403168" y="123699"/>
                    </a:lnTo>
                    <a:lnTo>
                      <a:pt x="1403168" y="123699"/>
                    </a:lnTo>
                    <a:close/>
                    <a:moveTo>
                      <a:pt x="1704545" y="29442"/>
                    </a:moveTo>
                    <a:lnTo>
                      <a:pt x="1602179" y="29442"/>
                    </a:lnTo>
                    <a:lnTo>
                      <a:pt x="1602179" y="47820"/>
                    </a:lnTo>
                    <a:lnTo>
                      <a:pt x="1697861" y="47820"/>
                    </a:lnTo>
                    <a:lnTo>
                      <a:pt x="1697861" y="76454"/>
                    </a:lnTo>
                    <a:lnTo>
                      <a:pt x="1602179" y="76454"/>
                    </a:lnTo>
                    <a:lnTo>
                      <a:pt x="1602179" y="95062"/>
                    </a:lnTo>
                    <a:lnTo>
                      <a:pt x="1704304" y="95062"/>
                    </a:lnTo>
                    <a:lnTo>
                      <a:pt x="1704304" y="123696"/>
                    </a:lnTo>
                    <a:lnTo>
                      <a:pt x="1573542" y="123696"/>
                    </a:lnTo>
                    <a:lnTo>
                      <a:pt x="1573542" y="809"/>
                    </a:lnTo>
                    <a:lnTo>
                      <a:pt x="1704541" y="809"/>
                    </a:lnTo>
                    <a:lnTo>
                      <a:pt x="1704541" y="29442"/>
                    </a:lnTo>
                    <a:close/>
                    <a:moveTo>
                      <a:pt x="721075" y="812"/>
                    </a:moveTo>
                    <a:lnTo>
                      <a:pt x="721075" y="29442"/>
                    </a:lnTo>
                    <a:lnTo>
                      <a:pt x="680391" y="29442"/>
                    </a:lnTo>
                    <a:cubicBezTo>
                      <a:pt x="676414" y="29442"/>
                      <a:pt x="674427" y="32546"/>
                      <a:pt x="674427" y="38748"/>
                    </a:cubicBezTo>
                    <a:lnTo>
                      <a:pt x="674427" y="55932"/>
                    </a:lnTo>
                    <a:lnTo>
                      <a:pt x="692323" y="55932"/>
                    </a:lnTo>
                    <a:lnTo>
                      <a:pt x="700139" y="55932"/>
                    </a:lnTo>
                    <a:lnTo>
                      <a:pt x="721075" y="55932"/>
                    </a:lnTo>
                    <a:lnTo>
                      <a:pt x="721075" y="84565"/>
                    </a:lnTo>
                    <a:lnTo>
                      <a:pt x="700139" y="84565"/>
                    </a:lnTo>
                    <a:lnTo>
                      <a:pt x="692323" y="84565"/>
                    </a:lnTo>
                    <a:lnTo>
                      <a:pt x="674427" y="84565"/>
                    </a:lnTo>
                    <a:lnTo>
                      <a:pt x="674427" y="123696"/>
                    </a:lnTo>
                    <a:lnTo>
                      <a:pt x="645793" y="123696"/>
                    </a:lnTo>
                    <a:lnTo>
                      <a:pt x="645793" y="38748"/>
                    </a:lnTo>
                    <a:cubicBezTo>
                      <a:pt x="645793" y="28409"/>
                      <a:pt x="649016" y="19501"/>
                      <a:pt x="655459" y="12025"/>
                    </a:cubicBezTo>
                    <a:cubicBezTo>
                      <a:pt x="661898" y="4545"/>
                      <a:pt x="670212" y="809"/>
                      <a:pt x="680394" y="809"/>
                    </a:cubicBezTo>
                    <a:lnTo>
                      <a:pt x="721075" y="809"/>
                    </a:lnTo>
                    <a:lnTo>
                      <a:pt x="721075" y="812"/>
                    </a:lnTo>
                    <a:close/>
                    <a:moveTo>
                      <a:pt x="398586" y="83612"/>
                    </a:moveTo>
                    <a:lnTo>
                      <a:pt x="398586" y="54978"/>
                    </a:lnTo>
                    <a:lnTo>
                      <a:pt x="440584" y="54978"/>
                    </a:lnTo>
                    <a:cubicBezTo>
                      <a:pt x="444718" y="54978"/>
                      <a:pt x="446789" y="50764"/>
                      <a:pt x="446789" y="42334"/>
                    </a:cubicBezTo>
                    <a:cubicBezTo>
                      <a:pt x="446789" y="33744"/>
                      <a:pt x="444718" y="29446"/>
                      <a:pt x="440584" y="29446"/>
                    </a:cubicBezTo>
                    <a:lnTo>
                      <a:pt x="398586" y="29446"/>
                    </a:lnTo>
                    <a:lnTo>
                      <a:pt x="398586" y="815"/>
                    </a:lnTo>
                    <a:lnTo>
                      <a:pt x="440584" y="815"/>
                    </a:lnTo>
                    <a:cubicBezTo>
                      <a:pt x="451241" y="815"/>
                      <a:pt x="459828" y="5190"/>
                      <a:pt x="466354" y="13938"/>
                    </a:cubicBezTo>
                    <a:cubicBezTo>
                      <a:pt x="472398" y="21892"/>
                      <a:pt x="475422" y="31352"/>
                      <a:pt x="475422" y="42334"/>
                    </a:cubicBezTo>
                    <a:cubicBezTo>
                      <a:pt x="475422" y="53309"/>
                      <a:pt x="472398" y="62692"/>
                      <a:pt x="466354" y="70489"/>
                    </a:cubicBezTo>
                    <a:cubicBezTo>
                      <a:pt x="459828" y="79237"/>
                      <a:pt x="451241" y="83612"/>
                      <a:pt x="440584" y="83612"/>
                    </a:cubicBezTo>
                    <a:lnTo>
                      <a:pt x="398586" y="83612"/>
                    </a:lnTo>
                    <a:close/>
                    <a:moveTo>
                      <a:pt x="151373" y="123699"/>
                    </a:moveTo>
                    <a:lnTo>
                      <a:pt x="122740" y="123699"/>
                    </a:lnTo>
                    <a:lnTo>
                      <a:pt x="122740" y="84569"/>
                    </a:lnTo>
                    <a:lnTo>
                      <a:pt x="76091" y="84569"/>
                    </a:lnTo>
                    <a:lnTo>
                      <a:pt x="76091" y="55935"/>
                    </a:lnTo>
                    <a:lnTo>
                      <a:pt x="122740" y="55935"/>
                    </a:lnTo>
                    <a:lnTo>
                      <a:pt x="122740" y="38752"/>
                    </a:lnTo>
                    <a:cubicBezTo>
                      <a:pt x="122740" y="32550"/>
                      <a:pt x="120672" y="29446"/>
                      <a:pt x="116538" y="29446"/>
                    </a:cubicBezTo>
                    <a:lnTo>
                      <a:pt x="76091" y="29446"/>
                    </a:lnTo>
                    <a:lnTo>
                      <a:pt x="76091" y="815"/>
                    </a:lnTo>
                    <a:lnTo>
                      <a:pt x="116538" y="815"/>
                    </a:lnTo>
                    <a:cubicBezTo>
                      <a:pt x="126880" y="815"/>
                      <a:pt x="135268" y="4552"/>
                      <a:pt x="141711" y="12031"/>
                    </a:cubicBezTo>
                    <a:cubicBezTo>
                      <a:pt x="148154" y="19510"/>
                      <a:pt x="151373" y="28415"/>
                      <a:pt x="151373" y="38755"/>
                    </a:cubicBezTo>
                    <a:lnTo>
                      <a:pt x="151373" y="123699"/>
                    </a:lnTo>
                    <a:lnTo>
                      <a:pt x="151373" y="123699"/>
                    </a:lnTo>
                    <a:close/>
                    <a:moveTo>
                      <a:pt x="398586" y="812"/>
                    </a:moveTo>
                    <a:lnTo>
                      <a:pt x="398586" y="29442"/>
                    </a:lnTo>
                    <a:lnTo>
                      <a:pt x="350384" y="29442"/>
                    </a:lnTo>
                    <a:lnTo>
                      <a:pt x="350384" y="54975"/>
                    </a:lnTo>
                    <a:lnTo>
                      <a:pt x="398586" y="54975"/>
                    </a:lnTo>
                    <a:lnTo>
                      <a:pt x="398586" y="83609"/>
                    </a:lnTo>
                    <a:lnTo>
                      <a:pt x="350384" y="83609"/>
                    </a:lnTo>
                    <a:lnTo>
                      <a:pt x="350384" y="123696"/>
                    </a:lnTo>
                    <a:lnTo>
                      <a:pt x="321750" y="123696"/>
                    </a:lnTo>
                    <a:lnTo>
                      <a:pt x="321750" y="809"/>
                    </a:lnTo>
                    <a:lnTo>
                      <a:pt x="398586" y="809"/>
                    </a:lnTo>
                    <a:close/>
                    <a:moveTo>
                      <a:pt x="76094" y="84565"/>
                    </a:moveTo>
                    <a:lnTo>
                      <a:pt x="51685" y="84565"/>
                    </a:lnTo>
                    <a:lnTo>
                      <a:pt x="47338" y="84565"/>
                    </a:lnTo>
                    <a:lnTo>
                      <a:pt x="29442" y="84565"/>
                    </a:lnTo>
                    <a:lnTo>
                      <a:pt x="29442" y="123696"/>
                    </a:lnTo>
                    <a:lnTo>
                      <a:pt x="809" y="123696"/>
                    </a:lnTo>
                    <a:lnTo>
                      <a:pt x="809" y="38748"/>
                    </a:lnTo>
                    <a:cubicBezTo>
                      <a:pt x="809" y="28409"/>
                      <a:pt x="4031" y="19501"/>
                      <a:pt x="10471" y="12025"/>
                    </a:cubicBezTo>
                    <a:cubicBezTo>
                      <a:pt x="16913" y="4545"/>
                      <a:pt x="25228" y="809"/>
                      <a:pt x="35407" y="809"/>
                    </a:cubicBezTo>
                    <a:lnTo>
                      <a:pt x="76091" y="809"/>
                    </a:lnTo>
                    <a:lnTo>
                      <a:pt x="76091" y="29439"/>
                    </a:lnTo>
                    <a:lnTo>
                      <a:pt x="35407" y="29439"/>
                    </a:lnTo>
                    <a:cubicBezTo>
                      <a:pt x="31429" y="29439"/>
                      <a:pt x="29442" y="32543"/>
                      <a:pt x="29442" y="38745"/>
                    </a:cubicBezTo>
                    <a:lnTo>
                      <a:pt x="29442" y="55928"/>
                    </a:lnTo>
                    <a:lnTo>
                      <a:pt x="47338" y="55928"/>
                    </a:lnTo>
                    <a:lnTo>
                      <a:pt x="51685" y="55928"/>
                    </a:lnTo>
                    <a:lnTo>
                      <a:pt x="76094" y="55928"/>
                    </a:lnTo>
                    <a:lnTo>
                      <a:pt x="76094" y="84565"/>
                    </a:lnTo>
                    <a:close/>
                  </a:path>
                </a:pathLst>
              </a:custGeom>
              <a:solidFill>
                <a:srgbClr val="666666"/>
              </a:solidFill>
              <a:ln w="31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A7E71A17-E2A8-42EB-8BAE-A860A8AA1D32}"/>
                  </a:ext>
                </a:extLst>
              </p:cNvPr>
              <p:cNvSpPr/>
              <p:nvPr/>
            </p:nvSpPr>
            <p:spPr>
              <a:xfrm>
                <a:off x="10525970" y="5238964"/>
                <a:ext cx="327426" cy="269645"/>
              </a:xfrm>
              <a:custGeom>
                <a:avLst/>
                <a:gdLst>
                  <a:gd name="connsiteX0" fmla="*/ 329374 w 327426"/>
                  <a:gd name="connsiteY0" fmla="*/ 268970 h 269644"/>
                  <a:gd name="connsiteX1" fmla="*/ 266890 w 327426"/>
                  <a:gd name="connsiteY1" fmla="*/ 268970 h 269644"/>
                  <a:gd name="connsiteX2" fmla="*/ 266890 w 327426"/>
                  <a:gd name="connsiteY2" fmla="*/ 183577 h 269644"/>
                  <a:gd name="connsiteX3" fmla="*/ 167077 w 327426"/>
                  <a:gd name="connsiteY3" fmla="*/ 183577 h 269644"/>
                  <a:gd name="connsiteX4" fmla="*/ 165093 w 327426"/>
                  <a:gd name="connsiteY4" fmla="*/ 183577 h 269644"/>
                  <a:gd name="connsiteX5" fmla="*/ 165093 w 327426"/>
                  <a:gd name="connsiteY5" fmla="*/ 121090 h 269644"/>
                  <a:gd name="connsiteX6" fmla="*/ 167077 w 327426"/>
                  <a:gd name="connsiteY6" fmla="*/ 121090 h 269644"/>
                  <a:gd name="connsiteX7" fmla="*/ 266890 w 327426"/>
                  <a:gd name="connsiteY7" fmla="*/ 121090 h 269644"/>
                  <a:gd name="connsiteX8" fmla="*/ 266890 w 327426"/>
                  <a:gd name="connsiteY8" fmla="*/ 83596 h 269644"/>
                  <a:gd name="connsiteX9" fmla="*/ 253350 w 327426"/>
                  <a:gd name="connsiteY9" fmla="*/ 63296 h 269644"/>
                  <a:gd name="connsiteX10" fmla="*/ 165093 w 327426"/>
                  <a:gd name="connsiteY10" fmla="*/ 63296 h 269644"/>
                  <a:gd name="connsiteX11" fmla="*/ 165093 w 327426"/>
                  <a:gd name="connsiteY11" fmla="*/ 812 h 269644"/>
                  <a:gd name="connsiteX12" fmla="*/ 253350 w 327426"/>
                  <a:gd name="connsiteY12" fmla="*/ 812 h 269644"/>
                  <a:gd name="connsiteX13" fmla="*/ 308287 w 327426"/>
                  <a:gd name="connsiteY13" fmla="*/ 25282 h 269644"/>
                  <a:gd name="connsiteX14" fmla="*/ 329374 w 327426"/>
                  <a:gd name="connsiteY14" fmla="*/ 83599 h 269644"/>
                  <a:gd name="connsiteX15" fmla="*/ 329374 w 327426"/>
                  <a:gd name="connsiteY15" fmla="*/ 268970 h 269644"/>
                  <a:gd name="connsiteX16" fmla="*/ 165093 w 327426"/>
                  <a:gd name="connsiteY16" fmla="*/ 183577 h 269644"/>
                  <a:gd name="connsiteX17" fmla="*/ 102346 w 327426"/>
                  <a:gd name="connsiteY17" fmla="*/ 183577 h 269644"/>
                  <a:gd name="connsiteX18" fmla="*/ 63296 w 327426"/>
                  <a:gd name="connsiteY18" fmla="*/ 183577 h 269644"/>
                  <a:gd name="connsiteX19" fmla="*/ 63296 w 327426"/>
                  <a:gd name="connsiteY19" fmla="*/ 268970 h 269644"/>
                  <a:gd name="connsiteX20" fmla="*/ 809 w 327426"/>
                  <a:gd name="connsiteY20" fmla="*/ 268970 h 269644"/>
                  <a:gd name="connsiteX21" fmla="*/ 809 w 327426"/>
                  <a:gd name="connsiteY21" fmla="*/ 83596 h 269644"/>
                  <a:gd name="connsiteX22" fmla="*/ 21895 w 327426"/>
                  <a:gd name="connsiteY22" fmla="*/ 25279 h 269644"/>
                  <a:gd name="connsiteX23" fmla="*/ 76312 w 327426"/>
                  <a:gd name="connsiteY23" fmla="*/ 809 h 269644"/>
                  <a:gd name="connsiteX24" fmla="*/ 165090 w 327426"/>
                  <a:gd name="connsiteY24" fmla="*/ 809 h 269644"/>
                  <a:gd name="connsiteX25" fmla="*/ 165090 w 327426"/>
                  <a:gd name="connsiteY25" fmla="*/ 63296 h 269644"/>
                  <a:gd name="connsiteX26" fmla="*/ 76312 w 327426"/>
                  <a:gd name="connsiteY26" fmla="*/ 63296 h 269644"/>
                  <a:gd name="connsiteX27" fmla="*/ 63296 w 327426"/>
                  <a:gd name="connsiteY27" fmla="*/ 83596 h 269644"/>
                  <a:gd name="connsiteX28" fmla="*/ 63296 w 327426"/>
                  <a:gd name="connsiteY28" fmla="*/ 121090 h 269644"/>
                  <a:gd name="connsiteX29" fmla="*/ 102346 w 327426"/>
                  <a:gd name="connsiteY29" fmla="*/ 121090 h 269644"/>
                  <a:gd name="connsiteX30" fmla="*/ 165093 w 327426"/>
                  <a:gd name="connsiteY30" fmla="*/ 121090 h 269644"/>
                  <a:gd name="connsiteX31" fmla="*/ 165093 w 327426"/>
                  <a:gd name="connsiteY31" fmla="*/ 183577 h 26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7426" h="269644">
                    <a:moveTo>
                      <a:pt x="329374" y="268970"/>
                    </a:moveTo>
                    <a:lnTo>
                      <a:pt x="266890" y="268970"/>
                    </a:lnTo>
                    <a:lnTo>
                      <a:pt x="266890" y="183577"/>
                    </a:lnTo>
                    <a:lnTo>
                      <a:pt x="167077" y="183577"/>
                    </a:lnTo>
                    <a:lnTo>
                      <a:pt x="165093" y="183577"/>
                    </a:lnTo>
                    <a:lnTo>
                      <a:pt x="165093" y="121090"/>
                    </a:lnTo>
                    <a:lnTo>
                      <a:pt x="167077" y="121090"/>
                    </a:lnTo>
                    <a:lnTo>
                      <a:pt x="266890" y="121090"/>
                    </a:lnTo>
                    <a:lnTo>
                      <a:pt x="266890" y="83596"/>
                    </a:lnTo>
                    <a:cubicBezTo>
                      <a:pt x="266890" y="70062"/>
                      <a:pt x="262377" y="63296"/>
                      <a:pt x="253350" y="63296"/>
                    </a:cubicBezTo>
                    <a:lnTo>
                      <a:pt x="165093" y="63296"/>
                    </a:lnTo>
                    <a:lnTo>
                      <a:pt x="165093" y="812"/>
                    </a:lnTo>
                    <a:lnTo>
                      <a:pt x="253350" y="812"/>
                    </a:lnTo>
                    <a:cubicBezTo>
                      <a:pt x="275917" y="812"/>
                      <a:pt x="294224" y="8969"/>
                      <a:pt x="308287" y="25282"/>
                    </a:cubicBezTo>
                    <a:cubicBezTo>
                      <a:pt x="322344" y="41599"/>
                      <a:pt x="329374" y="61039"/>
                      <a:pt x="329374" y="83599"/>
                    </a:cubicBezTo>
                    <a:lnTo>
                      <a:pt x="329374" y="268970"/>
                    </a:lnTo>
                    <a:close/>
                    <a:moveTo>
                      <a:pt x="165093" y="183577"/>
                    </a:moveTo>
                    <a:lnTo>
                      <a:pt x="102346" y="183577"/>
                    </a:lnTo>
                    <a:lnTo>
                      <a:pt x="63296" y="183577"/>
                    </a:lnTo>
                    <a:lnTo>
                      <a:pt x="63296" y="268970"/>
                    </a:lnTo>
                    <a:lnTo>
                      <a:pt x="809" y="268970"/>
                    </a:lnTo>
                    <a:lnTo>
                      <a:pt x="809" y="83596"/>
                    </a:lnTo>
                    <a:cubicBezTo>
                      <a:pt x="809" y="61036"/>
                      <a:pt x="7839" y="41599"/>
                      <a:pt x="21895" y="25279"/>
                    </a:cubicBezTo>
                    <a:cubicBezTo>
                      <a:pt x="35952" y="8962"/>
                      <a:pt x="54092" y="809"/>
                      <a:pt x="76312" y="809"/>
                    </a:cubicBezTo>
                    <a:lnTo>
                      <a:pt x="165090" y="809"/>
                    </a:lnTo>
                    <a:lnTo>
                      <a:pt x="165090" y="63296"/>
                    </a:lnTo>
                    <a:lnTo>
                      <a:pt x="76312" y="63296"/>
                    </a:lnTo>
                    <a:cubicBezTo>
                      <a:pt x="67632" y="63296"/>
                      <a:pt x="63296" y="70062"/>
                      <a:pt x="63296" y="83596"/>
                    </a:cubicBezTo>
                    <a:lnTo>
                      <a:pt x="63296" y="121090"/>
                    </a:lnTo>
                    <a:lnTo>
                      <a:pt x="102346" y="121090"/>
                    </a:lnTo>
                    <a:lnTo>
                      <a:pt x="165093" y="121090"/>
                    </a:lnTo>
                    <a:lnTo>
                      <a:pt x="165093" y="183577"/>
                    </a:lnTo>
                    <a:close/>
                  </a:path>
                </a:pathLst>
              </a:custGeom>
              <a:solidFill>
                <a:srgbClr val="BA160C"/>
              </a:solidFill>
              <a:ln w="3199"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5B366854-180D-4506-BFEA-5E41D9EA15ED}"/>
                  </a:ext>
                </a:extLst>
              </p:cNvPr>
              <p:cNvSpPr/>
              <p:nvPr/>
            </p:nvSpPr>
            <p:spPr>
              <a:xfrm>
                <a:off x="10881523" y="5238967"/>
                <a:ext cx="321006" cy="269645"/>
              </a:xfrm>
              <a:custGeom>
                <a:avLst/>
                <a:gdLst>
                  <a:gd name="connsiteX0" fmla="*/ 320521 w 321005"/>
                  <a:gd name="connsiteY0" fmla="*/ 186173 h 269644"/>
                  <a:gd name="connsiteX1" fmla="*/ 300211 w 321005"/>
                  <a:gd name="connsiteY1" fmla="*/ 243974 h 269644"/>
                  <a:gd name="connsiteX2" fmla="*/ 245020 w 321005"/>
                  <a:gd name="connsiteY2" fmla="*/ 268967 h 269644"/>
                  <a:gd name="connsiteX3" fmla="*/ 13832 w 321005"/>
                  <a:gd name="connsiteY3" fmla="*/ 268967 h 269644"/>
                  <a:gd name="connsiteX4" fmla="*/ 13832 w 321005"/>
                  <a:gd name="connsiteY4" fmla="*/ 206483 h 269644"/>
                  <a:gd name="connsiteX5" fmla="*/ 245020 w 321005"/>
                  <a:gd name="connsiteY5" fmla="*/ 206483 h 269644"/>
                  <a:gd name="connsiteX6" fmla="*/ 258037 w 321005"/>
                  <a:gd name="connsiteY6" fmla="*/ 186173 h 269644"/>
                  <a:gd name="connsiteX7" fmla="*/ 245020 w 321005"/>
                  <a:gd name="connsiteY7" fmla="*/ 165870 h 269644"/>
                  <a:gd name="connsiteX8" fmla="*/ 76832 w 321005"/>
                  <a:gd name="connsiteY8" fmla="*/ 165870 h 269644"/>
                  <a:gd name="connsiteX9" fmla="*/ 21642 w 321005"/>
                  <a:gd name="connsiteY9" fmla="*/ 140873 h 269644"/>
                  <a:gd name="connsiteX10" fmla="*/ 809 w 321005"/>
                  <a:gd name="connsiteY10" fmla="*/ 83596 h 269644"/>
                  <a:gd name="connsiteX11" fmla="*/ 22159 w 321005"/>
                  <a:gd name="connsiteY11" fmla="*/ 25279 h 269644"/>
                  <a:gd name="connsiteX12" fmla="*/ 76832 w 321005"/>
                  <a:gd name="connsiteY12" fmla="*/ 809 h 269644"/>
                  <a:gd name="connsiteX13" fmla="*/ 308024 w 321005"/>
                  <a:gd name="connsiteY13" fmla="*/ 809 h 269644"/>
                  <a:gd name="connsiteX14" fmla="*/ 308024 w 321005"/>
                  <a:gd name="connsiteY14" fmla="*/ 63289 h 269644"/>
                  <a:gd name="connsiteX15" fmla="*/ 76832 w 321005"/>
                  <a:gd name="connsiteY15" fmla="*/ 63289 h 269644"/>
                  <a:gd name="connsiteX16" fmla="*/ 63816 w 321005"/>
                  <a:gd name="connsiteY16" fmla="*/ 83596 h 269644"/>
                  <a:gd name="connsiteX17" fmla="*/ 76832 w 321005"/>
                  <a:gd name="connsiteY17" fmla="*/ 103383 h 269644"/>
                  <a:gd name="connsiteX18" fmla="*/ 245020 w 321005"/>
                  <a:gd name="connsiteY18" fmla="*/ 103383 h 269644"/>
                  <a:gd name="connsiteX19" fmla="*/ 300211 w 321005"/>
                  <a:gd name="connsiteY19" fmla="*/ 128380 h 269644"/>
                  <a:gd name="connsiteX20" fmla="*/ 320521 w 321005"/>
                  <a:gd name="connsiteY20" fmla="*/ 186173 h 26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1005" h="269644">
                    <a:moveTo>
                      <a:pt x="320521" y="186173"/>
                    </a:moveTo>
                    <a:cubicBezTo>
                      <a:pt x="320521" y="208740"/>
                      <a:pt x="313751" y="228004"/>
                      <a:pt x="300211" y="243974"/>
                    </a:cubicBezTo>
                    <a:cubicBezTo>
                      <a:pt x="285634" y="260634"/>
                      <a:pt x="267234" y="268967"/>
                      <a:pt x="245020" y="268967"/>
                    </a:cubicBezTo>
                    <a:lnTo>
                      <a:pt x="13832" y="268967"/>
                    </a:lnTo>
                    <a:lnTo>
                      <a:pt x="13832" y="206483"/>
                    </a:lnTo>
                    <a:lnTo>
                      <a:pt x="245020" y="206483"/>
                    </a:lnTo>
                    <a:cubicBezTo>
                      <a:pt x="253700" y="206483"/>
                      <a:pt x="258037" y="199713"/>
                      <a:pt x="258037" y="186173"/>
                    </a:cubicBezTo>
                    <a:cubicBezTo>
                      <a:pt x="258037" y="172640"/>
                      <a:pt x="253697" y="165870"/>
                      <a:pt x="245020" y="165870"/>
                    </a:cubicBezTo>
                    <a:lnTo>
                      <a:pt x="76832" y="165870"/>
                    </a:lnTo>
                    <a:cubicBezTo>
                      <a:pt x="54619" y="165870"/>
                      <a:pt x="36219" y="157537"/>
                      <a:pt x="21642" y="140873"/>
                    </a:cubicBezTo>
                    <a:cubicBezTo>
                      <a:pt x="7752" y="125256"/>
                      <a:pt x="809" y="106163"/>
                      <a:pt x="809" y="83596"/>
                    </a:cubicBezTo>
                    <a:cubicBezTo>
                      <a:pt x="809" y="61036"/>
                      <a:pt x="7929" y="41599"/>
                      <a:pt x="22159" y="25279"/>
                    </a:cubicBezTo>
                    <a:cubicBezTo>
                      <a:pt x="36392" y="8962"/>
                      <a:pt x="54619" y="809"/>
                      <a:pt x="76832" y="809"/>
                    </a:cubicBezTo>
                    <a:lnTo>
                      <a:pt x="308024" y="809"/>
                    </a:lnTo>
                    <a:lnTo>
                      <a:pt x="308024" y="63289"/>
                    </a:lnTo>
                    <a:lnTo>
                      <a:pt x="76832" y="63289"/>
                    </a:lnTo>
                    <a:cubicBezTo>
                      <a:pt x="68156" y="63289"/>
                      <a:pt x="63816" y="70059"/>
                      <a:pt x="63816" y="83596"/>
                    </a:cubicBezTo>
                    <a:cubicBezTo>
                      <a:pt x="63816" y="96786"/>
                      <a:pt x="68156" y="103383"/>
                      <a:pt x="76832" y="103383"/>
                    </a:cubicBezTo>
                    <a:lnTo>
                      <a:pt x="245020" y="103383"/>
                    </a:lnTo>
                    <a:cubicBezTo>
                      <a:pt x="267234" y="103383"/>
                      <a:pt x="285634" y="111716"/>
                      <a:pt x="300211" y="128380"/>
                    </a:cubicBezTo>
                    <a:cubicBezTo>
                      <a:pt x="313751" y="144346"/>
                      <a:pt x="320521" y="163613"/>
                      <a:pt x="320521" y="186173"/>
                    </a:cubicBezTo>
                    <a:close/>
                  </a:path>
                </a:pathLst>
              </a:custGeom>
              <a:solidFill>
                <a:srgbClr val="BA160C"/>
              </a:solidFill>
              <a:ln w="3199"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D8AF3AE7-6613-42AE-ADB3-E985FED9D293}"/>
                  </a:ext>
                </a:extLst>
              </p:cNvPr>
              <p:cNvSpPr/>
              <p:nvPr/>
            </p:nvSpPr>
            <p:spPr>
              <a:xfrm>
                <a:off x="11227272" y="5238967"/>
                <a:ext cx="285695" cy="269645"/>
              </a:xfrm>
              <a:custGeom>
                <a:avLst/>
                <a:gdLst>
                  <a:gd name="connsiteX0" fmla="*/ 286677 w 285695"/>
                  <a:gd name="connsiteY0" fmla="*/ 63289 h 269644"/>
                  <a:gd name="connsiteX1" fmla="*/ 63296 w 285695"/>
                  <a:gd name="connsiteY1" fmla="*/ 63289 h 269644"/>
                  <a:gd name="connsiteX2" fmla="*/ 63296 w 285695"/>
                  <a:gd name="connsiteY2" fmla="*/ 103383 h 269644"/>
                  <a:gd name="connsiteX3" fmla="*/ 272097 w 285695"/>
                  <a:gd name="connsiteY3" fmla="*/ 103383 h 269644"/>
                  <a:gd name="connsiteX4" fmla="*/ 272097 w 285695"/>
                  <a:gd name="connsiteY4" fmla="*/ 165870 h 269644"/>
                  <a:gd name="connsiteX5" fmla="*/ 63296 w 285695"/>
                  <a:gd name="connsiteY5" fmla="*/ 165870 h 269644"/>
                  <a:gd name="connsiteX6" fmla="*/ 63296 w 285695"/>
                  <a:gd name="connsiteY6" fmla="*/ 206483 h 269644"/>
                  <a:gd name="connsiteX7" fmla="*/ 286154 w 285695"/>
                  <a:gd name="connsiteY7" fmla="*/ 206483 h 269644"/>
                  <a:gd name="connsiteX8" fmla="*/ 286154 w 285695"/>
                  <a:gd name="connsiteY8" fmla="*/ 268967 h 269644"/>
                  <a:gd name="connsiteX9" fmla="*/ 809 w 285695"/>
                  <a:gd name="connsiteY9" fmla="*/ 268967 h 269644"/>
                  <a:gd name="connsiteX10" fmla="*/ 809 w 285695"/>
                  <a:gd name="connsiteY10" fmla="*/ 809 h 269644"/>
                  <a:gd name="connsiteX11" fmla="*/ 286677 w 285695"/>
                  <a:gd name="connsiteY11" fmla="*/ 809 h 26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695" h="269644">
                    <a:moveTo>
                      <a:pt x="286677" y="63289"/>
                    </a:moveTo>
                    <a:lnTo>
                      <a:pt x="63296" y="63289"/>
                    </a:lnTo>
                    <a:lnTo>
                      <a:pt x="63296" y="103383"/>
                    </a:lnTo>
                    <a:lnTo>
                      <a:pt x="272097" y="103383"/>
                    </a:lnTo>
                    <a:lnTo>
                      <a:pt x="272097" y="165870"/>
                    </a:lnTo>
                    <a:lnTo>
                      <a:pt x="63296" y="165870"/>
                    </a:lnTo>
                    <a:lnTo>
                      <a:pt x="63296" y="206483"/>
                    </a:lnTo>
                    <a:lnTo>
                      <a:pt x="286154" y="206483"/>
                    </a:lnTo>
                    <a:lnTo>
                      <a:pt x="286154" y="268967"/>
                    </a:lnTo>
                    <a:lnTo>
                      <a:pt x="809" y="268967"/>
                    </a:lnTo>
                    <a:lnTo>
                      <a:pt x="809" y="809"/>
                    </a:lnTo>
                    <a:lnTo>
                      <a:pt x="286677" y="809"/>
                    </a:lnTo>
                    <a:close/>
                  </a:path>
                </a:pathLst>
              </a:custGeom>
              <a:solidFill>
                <a:srgbClr val="BA160C"/>
              </a:solidFill>
              <a:ln w="3199" cap="flat">
                <a:noFill/>
                <a:prstDash val="solid"/>
                <a:miter/>
              </a:ln>
            </p:spPr>
            <p:txBody>
              <a:bodyPr rtlCol="0" anchor="ctr"/>
              <a:lstStyle/>
              <a:p>
                <a:endParaRPr lang="en-US"/>
              </a:p>
            </p:txBody>
          </p:sp>
        </p:grpSp>
        <p:pic>
          <p:nvPicPr>
            <p:cNvPr id="85" name="Graphic 84">
              <a:extLst>
                <a:ext uri="{FF2B5EF4-FFF2-40B4-BE49-F238E27FC236}">
                  <a16:creationId xmlns:a16="http://schemas.microsoft.com/office/drawing/2014/main" id="{7282B3C2-0551-4187-AA19-3B1C3EDF1B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5945" y="6109814"/>
              <a:ext cx="341629" cy="269613"/>
            </a:xfrm>
            <a:prstGeom prst="rect">
              <a:avLst/>
            </a:prstGeom>
          </p:spPr>
        </p:pic>
      </p:grpSp>
      <p:pic>
        <p:nvPicPr>
          <p:cNvPr id="92" name="Graphic 91">
            <a:extLst>
              <a:ext uri="{FF2B5EF4-FFF2-40B4-BE49-F238E27FC236}">
                <a16:creationId xmlns:a16="http://schemas.microsoft.com/office/drawing/2014/main" id="{20EE79A6-3B61-4F58-8C5C-B1B9E8DA7C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42494" y="5893573"/>
            <a:ext cx="964739" cy="502261"/>
          </a:xfrm>
          <a:prstGeom prst="rect">
            <a:avLst/>
          </a:prstGeom>
        </p:spPr>
      </p:pic>
      <p:pic>
        <p:nvPicPr>
          <p:cNvPr id="93" name="Graphic 92">
            <a:extLst>
              <a:ext uri="{FF2B5EF4-FFF2-40B4-BE49-F238E27FC236}">
                <a16:creationId xmlns:a16="http://schemas.microsoft.com/office/drawing/2014/main" id="{B6A54013-D86A-47D2-805A-81AB86C36A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43268" y="5818431"/>
            <a:ext cx="1496096" cy="748049"/>
          </a:xfrm>
          <a:prstGeom prst="rect">
            <a:avLst/>
          </a:prstGeom>
        </p:spPr>
      </p:pic>
      <p:pic>
        <p:nvPicPr>
          <p:cNvPr id="94" name="Graphic 93">
            <a:extLst>
              <a:ext uri="{FF2B5EF4-FFF2-40B4-BE49-F238E27FC236}">
                <a16:creationId xmlns:a16="http://schemas.microsoft.com/office/drawing/2014/main" id="{EA34E3C3-8BE5-4E91-B38F-B201F10278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252" y="5894516"/>
            <a:ext cx="662089" cy="595880"/>
          </a:xfrm>
          <a:prstGeom prst="rect">
            <a:avLst/>
          </a:prstGeom>
        </p:spPr>
      </p:pic>
      <p:sp>
        <p:nvSpPr>
          <p:cNvPr id="95" name="Freeform 7">
            <a:extLst>
              <a:ext uri="{FF2B5EF4-FFF2-40B4-BE49-F238E27FC236}">
                <a16:creationId xmlns:a16="http://schemas.microsoft.com/office/drawing/2014/main" id="{5FE506BE-0B6D-47DB-8227-C93B241604FB}"/>
              </a:ext>
            </a:extLst>
          </p:cNvPr>
          <p:cNvSpPr/>
          <p:nvPr/>
        </p:nvSpPr>
        <p:spPr>
          <a:xfrm>
            <a:off x="765937" y="1866508"/>
            <a:ext cx="928095" cy="66640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Title 1">
            <a:extLst>
              <a:ext uri="{FF2B5EF4-FFF2-40B4-BE49-F238E27FC236}">
                <a16:creationId xmlns:a16="http://schemas.microsoft.com/office/drawing/2014/main" id="{96731F6B-C48B-4D43-8838-5CFDD7E4EAE0}"/>
              </a:ext>
            </a:extLst>
          </p:cNvPr>
          <p:cNvSpPr>
            <a:spLocks noGrp="1"/>
          </p:cNvSpPr>
          <p:nvPr>
            <p:ph type="title"/>
          </p:nvPr>
        </p:nvSpPr>
        <p:spPr>
          <a:xfrm>
            <a:off x="1408604" y="351927"/>
            <a:ext cx="10051592" cy="861774"/>
          </a:xfrm>
        </p:spPr>
        <p:txBody>
          <a:bodyPr/>
          <a:lstStyle/>
          <a:p>
            <a:r>
              <a:rPr lang="en-US" dirty="0"/>
              <a:t>Azure HDInsight</a:t>
            </a:r>
            <a:br>
              <a:rPr lang="en-US" dirty="0"/>
            </a:br>
            <a:r>
              <a:rPr lang="en-US" sz="2000" dirty="0">
                <a:solidFill>
                  <a:srgbClr val="505050"/>
                </a:solidFill>
                <a:latin typeface="Segoe UI Semilight" charset="0"/>
                <a:ea typeface="Segoe UI Semilight" charset="0"/>
                <a:cs typeface="Segoe UI Semilight" charset="0"/>
              </a:rPr>
              <a:t>Hortonworks PaaS | Workload based clusters with disaggregated compute and storage</a:t>
            </a:r>
            <a:endParaRPr lang="en-US" dirty="0"/>
          </a:p>
        </p:txBody>
      </p:sp>
      <p:pic>
        <p:nvPicPr>
          <p:cNvPr id="83" name="Graphic 82">
            <a:extLst>
              <a:ext uri="{FF2B5EF4-FFF2-40B4-BE49-F238E27FC236}">
                <a16:creationId xmlns:a16="http://schemas.microsoft.com/office/drawing/2014/main" id="{1B939F05-3944-49E7-A134-2FBC3C5128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9489" y="351927"/>
            <a:ext cx="1149532" cy="1149532"/>
          </a:xfrm>
          <a:prstGeom prst="rect">
            <a:avLst/>
          </a:prstGeom>
        </p:spPr>
      </p:pic>
    </p:spTree>
    <p:extLst>
      <p:ext uri="{BB962C8B-B14F-4D97-AF65-F5344CB8AC3E}">
        <p14:creationId xmlns:p14="http://schemas.microsoft.com/office/powerpoint/2010/main" val="147657943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About HDI Kafka</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404442" y="1208046"/>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b="1" dirty="0">
                <a:gradFill>
                  <a:gsLst>
                    <a:gs pos="2917">
                      <a:schemeClr val="tx1"/>
                    </a:gs>
                    <a:gs pos="30000">
                      <a:schemeClr val="tx1"/>
                    </a:gs>
                  </a:gsLst>
                  <a:lin ang="5400000" scaled="0"/>
                </a:gradFill>
              </a:rPr>
              <a:t>Fully managed:</a:t>
            </a:r>
            <a:br>
              <a:rPr lang="en-US" b="1"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Kafka clusters (Hortonworks) deployable in 10 minutes</a:t>
            </a:r>
            <a:br>
              <a:rPr lang="en-US" dirty="0">
                <a:gradFill>
                  <a:gsLst>
                    <a:gs pos="2917">
                      <a:schemeClr val="tx1"/>
                    </a:gs>
                    <a:gs pos="30000">
                      <a:schemeClr val="tx1"/>
                    </a:gs>
                  </a:gsLst>
                  <a:lin ang="5400000" scaled="0"/>
                </a:gradFill>
              </a:rPr>
            </a:br>
            <a:endParaRPr lang="en-US" b="1"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Configurable performance:</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Choice of premium (SSD) or standard disks for brokers</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Scalable:</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Scale brokers via portal, </a:t>
            </a:r>
            <a:r>
              <a:rPr lang="en-US" dirty="0" err="1">
                <a:gradFill>
                  <a:gsLst>
                    <a:gs pos="2917">
                      <a:schemeClr val="tx1"/>
                    </a:gs>
                    <a:gs pos="30000">
                      <a:schemeClr val="tx1"/>
                    </a:gs>
                  </a:gsLst>
                  <a:lin ang="5400000" scaled="0"/>
                </a:gradFill>
              </a:rPr>
              <a:t>powershell</a:t>
            </a:r>
            <a:r>
              <a:rPr lang="en-US" dirty="0">
                <a:gradFill>
                  <a:gsLst>
                    <a:gs pos="2917">
                      <a:schemeClr val="tx1"/>
                    </a:gs>
                    <a:gs pos="30000">
                      <a:schemeClr val="tx1"/>
                    </a:gs>
                  </a:gsLst>
                  <a:lin ang="5400000" scaled="0"/>
                </a:gradFill>
              </a:rPr>
              <a:t>, Azure CLI</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Securable</a:t>
            </a:r>
            <a:r>
              <a:rPr lang="en-US" dirty="0">
                <a:gradFill>
                  <a:gsLst>
                    <a:gs pos="2917">
                      <a:schemeClr val="tx1"/>
                    </a:gs>
                    <a:gs pos="30000">
                      <a:schemeClr val="tx1"/>
                    </a:gs>
                  </a:gsLst>
                  <a:lin ang="5400000" scaled="0"/>
                </a:gradFill>
              </a:rPr>
              <a:t>:</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Perimeter protection (gateway, </a:t>
            </a:r>
            <a:r>
              <a:rPr lang="en-US" dirty="0" err="1">
                <a:gradFill>
                  <a:gsLst>
                    <a:gs pos="2917">
                      <a:schemeClr val="tx1"/>
                    </a:gs>
                    <a:gs pos="30000">
                      <a:schemeClr val="tx1"/>
                    </a:gs>
                  </a:gsLst>
                  <a:lin ang="5400000" scaled="0"/>
                </a:gradFill>
              </a:rPr>
              <a:t>Vnet</a:t>
            </a:r>
            <a:r>
              <a:rPr lang="en-US" dirty="0">
                <a:gradFill>
                  <a:gsLst>
                    <a:gs pos="2917">
                      <a:schemeClr val="tx1"/>
                    </a:gs>
                    <a:gs pos="30000">
                      <a:schemeClr val="tx1"/>
                    </a:gs>
                  </a:gsLst>
                  <a:lin ang="5400000" scaled="0"/>
                </a:gradFill>
              </a:rPr>
              <a:t>, NSGs), authentication (Kerberos),  authorization (Ranger) and auditing (Ranger); </a:t>
            </a:r>
          </a:p>
        </p:txBody>
      </p:sp>
    </p:spTree>
    <p:extLst>
      <p:ext uri="{BB962C8B-B14F-4D97-AF65-F5344CB8AC3E}">
        <p14:creationId xmlns:p14="http://schemas.microsoft.com/office/powerpoint/2010/main" val="32111348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Agenda</a:t>
            </a:r>
          </a:p>
        </p:txBody>
      </p:sp>
      <p:sp>
        <p:nvSpPr>
          <p:cNvPr id="3" name="TextBox 2">
            <a:extLst>
              <a:ext uri="{FF2B5EF4-FFF2-40B4-BE49-F238E27FC236}">
                <a16:creationId xmlns:a16="http://schemas.microsoft.com/office/drawing/2014/main" id="{93C47260-FDAF-6D4C-A4D7-E70AC482B3E1}"/>
              </a:ext>
            </a:extLst>
          </p:cNvPr>
          <p:cNvSpPr txBox="1"/>
          <p:nvPr/>
        </p:nvSpPr>
        <p:spPr>
          <a:xfrm>
            <a:off x="266920" y="1189178"/>
            <a:ext cx="11375572" cy="3859518"/>
          </a:xfrm>
          <a:prstGeom prst="rect">
            <a:avLst/>
          </a:prstGeom>
          <a:noFill/>
        </p:spPr>
        <p:txBody>
          <a:bodyPr wrap="square" lIns="182880" tIns="146304" rIns="182880" bIns="146304" rtlCol="0">
            <a:spAutoFit/>
          </a:bodyPr>
          <a:lstStyle/>
          <a:p>
            <a:pPr marL="514350" indent="-514350">
              <a:lnSpc>
                <a:spcPct val="90000"/>
              </a:lnSpc>
              <a:spcAft>
                <a:spcPts val="600"/>
              </a:spcAft>
              <a:buAutoNum type="arabicPeriod"/>
            </a:pPr>
            <a:r>
              <a:rPr lang="en-US" sz="3200" dirty="0">
                <a:gradFill>
                  <a:gsLst>
                    <a:gs pos="2917">
                      <a:schemeClr val="tx1"/>
                    </a:gs>
                    <a:gs pos="30000">
                      <a:schemeClr val="tx1"/>
                    </a:gs>
                  </a:gsLst>
                  <a:lin ang="5400000" scaled="0"/>
                </a:gradFill>
              </a:rPr>
              <a:t>Kafka on Azure –options</a:t>
            </a:r>
          </a:p>
          <a:p>
            <a:pPr marL="514350" indent="-514350">
              <a:lnSpc>
                <a:spcPct val="90000"/>
              </a:lnSpc>
              <a:spcAft>
                <a:spcPts val="600"/>
              </a:spcAft>
              <a:buAutoNum type="arabicPeriod"/>
            </a:pPr>
            <a:r>
              <a:rPr lang="en-US" sz="3200" dirty="0">
                <a:gradFill>
                  <a:gsLst>
                    <a:gs pos="2917">
                      <a:schemeClr val="tx1"/>
                    </a:gs>
                    <a:gs pos="30000">
                      <a:schemeClr val="tx1"/>
                    </a:gs>
                  </a:gsLst>
                  <a:lin ang="5400000" scaled="0"/>
                </a:gradFill>
              </a:rPr>
              <a:t>Kafka – newer features overview</a:t>
            </a:r>
          </a:p>
          <a:p>
            <a:pPr marL="514350" indent="-514350">
              <a:lnSpc>
                <a:spcPct val="90000"/>
              </a:lnSpc>
              <a:spcAft>
                <a:spcPts val="600"/>
              </a:spcAft>
              <a:buAutoNum type="arabicPeriod"/>
            </a:pPr>
            <a:r>
              <a:rPr lang="en-US" sz="3200" dirty="0">
                <a:gradFill>
                  <a:gsLst>
                    <a:gs pos="2917">
                      <a:schemeClr val="tx1"/>
                    </a:gs>
                    <a:gs pos="30000">
                      <a:schemeClr val="tx1"/>
                    </a:gs>
                  </a:gsLst>
                  <a:lin ang="5400000" scaled="0"/>
                </a:gradFill>
              </a:rPr>
              <a:t>HDInsight Kafka – overview</a:t>
            </a:r>
          </a:p>
          <a:p>
            <a:pPr marL="514350" indent="-514350">
              <a:lnSpc>
                <a:spcPct val="90000"/>
              </a:lnSpc>
              <a:spcAft>
                <a:spcPts val="600"/>
              </a:spcAft>
              <a:buAutoNum type="arabicPeriod"/>
            </a:pPr>
            <a:r>
              <a:rPr lang="en-US" sz="3200" dirty="0">
                <a:gradFill>
                  <a:gsLst>
                    <a:gs pos="2917">
                      <a:schemeClr val="tx1"/>
                    </a:gs>
                    <a:gs pos="30000">
                      <a:schemeClr val="tx1"/>
                    </a:gs>
                  </a:gsLst>
                  <a:lin ang="5400000" scaled="0"/>
                </a:gradFill>
              </a:rPr>
              <a:t>Confluent Kafka – overview</a:t>
            </a:r>
          </a:p>
          <a:p>
            <a:pPr marL="514350" indent="-514350">
              <a:lnSpc>
                <a:spcPct val="90000"/>
              </a:lnSpc>
              <a:spcAft>
                <a:spcPts val="600"/>
              </a:spcAft>
              <a:buAutoNum type="arabicPeriod"/>
            </a:pPr>
            <a:r>
              <a:rPr lang="en-US" sz="3200" dirty="0">
                <a:gradFill>
                  <a:gsLst>
                    <a:gs pos="2917">
                      <a:schemeClr val="tx1"/>
                    </a:gs>
                    <a:gs pos="30000">
                      <a:schemeClr val="tx1"/>
                    </a:gs>
                  </a:gsLst>
                  <a:lin ang="5400000" scaled="0"/>
                </a:gradFill>
              </a:rPr>
              <a:t>Discussion – HDInsight versus Confluent</a:t>
            </a:r>
          </a:p>
          <a:p>
            <a:pPr>
              <a:lnSpc>
                <a:spcPct val="90000"/>
              </a:lnSpc>
              <a:spcAft>
                <a:spcPts val="600"/>
              </a:spcAft>
            </a:pPr>
            <a:r>
              <a:rPr lang="en-US" sz="3200" dirty="0">
                <a:gradFill>
                  <a:gsLst>
                    <a:gs pos="2917">
                      <a:schemeClr val="tx1"/>
                    </a:gs>
                    <a:gs pos="30000">
                      <a:schemeClr val="tx1"/>
                    </a:gs>
                  </a:gsLst>
                  <a:lin ang="5400000" scaled="0"/>
                </a:gradFill>
              </a:rPr>
              <a:t>		</a:t>
            </a:r>
          </a:p>
          <a:p>
            <a:pPr>
              <a:lnSpc>
                <a:spcPct val="90000"/>
              </a:lnSpc>
              <a:spcAft>
                <a:spcPts val="600"/>
              </a:spcAft>
            </a:pPr>
            <a:r>
              <a:rPr lang="en-US" sz="32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173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Azure HDInsight Kafka</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93556" y="1189178"/>
            <a:ext cx="11177958" cy="526122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b="1" dirty="0">
                <a:gradFill>
                  <a:gsLst>
                    <a:gs pos="2917">
                      <a:schemeClr val="tx1"/>
                    </a:gs>
                    <a:gs pos="30000">
                      <a:schemeClr val="tx1"/>
                    </a:gs>
                  </a:gsLst>
                  <a:lin ang="5400000" scaled="0"/>
                </a:gradFill>
              </a:rPr>
              <a:t>Operations</a:t>
            </a:r>
            <a:r>
              <a:rPr lang="en-US" dirty="0">
                <a:gradFill>
                  <a:gsLst>
                    <a:gs pos="2917">
                      <a:schemeClr val="tx1"/>
                    </a:gs>
                    <a:gs pos="30000">
                      <a:schemeClr val="tx1"/>
                    </a:gs>
                  </a:gsLst>
                  <a:lin ang="5400000" scaled="0"/>
                </a:gradFill>
              </a:rPr>
              <a:t>:</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Alerting and predictive cluster maintenance through Azure Operations Management Suite</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Disaster recovery </a:t>
            </a:r>
            <a:br>
              <a:rPr lang="en-US" dirty="0">
                <a:gradFill>
                  <a:gsLst>
                    <a:gs pos="2917">
                      <a:schemeClr val="tx1"/>
                    </a:gs>
                    <a:gs pos="30000">
                      <a:schemeClr val="tx1"/>
                    </a:gs>
                  </a:gsLst>
                  <a:lin ang="5400000" scaled="0"/>
                </a:gradFill>
              </a:rPr>
            </a:br>
            <a:r>
              <a:rPr lang="en-US" dirty="0" err="1">
                <a:gradFill>
                  <a:gsLst>
                    <a:gs pos="2917">
                      <a:schemeClr val="tx1"/>
                    </a:gs>
                    <a:gs pos="30000">
                      <a:schemeClr val="tx1"/>
                    </a:gs>
                  </a:gsLst>
                  <a:lin ang="5400000" scaled="0"/>
                </a:gradFill>
              </a:rPr>
              <a:t>MirrorMaker</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Rack awareness </a:t>
            </a:r>
            <a:r>
              <a:rPr lang="en-US" dirty="0">
                <a:gradFill>
                  <a:gsLst>
                    <a:gs pos="2917">
                      <a:schemeClr val="tx1"/>
                    </a:gs>
                    <a:gs pos="30000">
                      <a:schemeClr val="tx1"/>
                    </a:gs>
                  </a:gsLst>
                  <a:lin ang="5400000" scaled="0"/>
                </a:gradFill>
              </a:rPr>
              <a:t>for Kafka on Azure</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Tooling to ensure partition replicas are spread across fault domains</a:t>
            </a: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100000"/>
              </a:lnSpc>
              <a:defRPr/>
            </a:pPr>
            <a:r>
              <a:rPr lang="en-US" b="1" dirty="0">
                <a:gradFill>
                  <a:gsLst>
                    <a:gs pos="2917">
                      <a:schemeClr val="tx1"/>
                    </a:gs>
                    <a:gs pos="30000">
                      <a:schemeClr val="tx1"/>
                    </a:gs>
                  </a:gsLst>
                  <a:lin ang="5400000" scaled="0"/>
                </a:gradFill>
              </a:rPr>
              <a:t>Compliance</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HIPAA, SOC, PCI</a:t>
            </a:r>
          </a:p>
        </p:txBody>
      </p:sp>
    </p:spTree>
    <p:extLst>
      <p:ext uri="{BB962C8B-B14F-4D97-AF65-F5344CB8AC3E}">
        <p14:creationId xmlns:p14="http://schemas.microsoft.com/office/powerpoint/2010/main" val="10061771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Azure HDInsight Kafka</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93556" y="1189178"/>
            <a:ext cx="11177958" cy="526122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b="1" dirty="0">
                <a:gradFill>
                  <a:gsLst>
                    <a:gs pos="2917">
                      <a:schemeClr val="tx1"/>
                    </a:gs>
                    <a:gs pos="30000">
                      <a:schemeClr val="tx1"/>
                    </a:gs>
                  </a:gsLst>
                  <a:lin ang="5400000" scaled="0"/>
                </a:gradFill>
              </a:rPr>
              <a:t>Versions</a:t>
            </a:r>
            <a:r>
              <a:rPr lang="en-US" dirty="0">
                <a:gradFill>
                  <a:gsLst>
                    <a:gs pos="2917">
                      <a:schemeClr val="tx1"/>
                    </a:gs>
                    <a:gs pos="30000">
                      <a:schemeClr val="tx1"/>
                    </a:gs>
                  </a:gsLst>
                  <a:lin ang="5400000" scaled="0"/>
                </a:gradFill>
              </a:rPr>
              <a:t>:</a:t>
            </a:r>
          </a:p>
          <a:p>
            <a:pPr>
              <a:lnSpc>
                <a:spcPct val="100000"/>
              </a:lnSpc>
              <a:defRPr/>
            </a:pPr>
            <a:r>
              <a:rPr lang="en-US" b="1" dirty="0">
                <a:gradFill>
                  <a:gsLst>
                    <a:gs pos="2917">
                      <a:schemeClr val="tx1"/>
                    </a:gs>
                    <a:gs pos="30000">
                      <a:schemeClr val="tx1"/>
                    </a:gs>
                  </a:gsLst>
                  <a:lin ang="5400000" scaled="0"/>
                </a:gradFill>
              </a:rPr>
              <a:t>SLA:</a:t>
            </a:r>
            <a:r>
              <a:rPr lang="en-US" dirty="0">
                <a:gradFill>
                  <a:gsLst>
                    <a:gs pos="2917">
                      <a:schemeClr val="tx1"/>
                    </a:gs>
                    <a:gs pos="30000">
                      <a:schemeClr val="tx1"/>
                    </a:gs>
                  </a:gsLst>
                  <a:lin ang="5400000" scaled="0"/>
                </a:gradFill>
              </a:rPr>
              <a:t> 99.9%</a:t>
            </a:r>
          </a:p>
          <a:p>
            <a:pPr>
              <a:lnSpc>
                <a:spcPct val="100000"/>
              </a:lnSpc>
              <a:defRPr/>
            </a:pPr>
            <a:r>
              <a:rPr lang="en-US" b="1" dirty="0">
                <a:gradFill>
                  <a:gsLst>
                    <a:gs pos="2917">
                      <a:schemeClr val="tx1"/>
                    </a:gs>
                    <a:gs pos="30000">
                      <a:schemeClr val="tx1"/>
                    </a:gs>
                  </a:gsLst>
                  <a:lin ang="5400000" scaled="0"/>
                </a:gradFill>
              </a:rPr>
              <a:t>New features: </a:t>
            </a: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0" indent="0">
              <a:lnSpc>
                <a:spcPct val="100000"/>
              </a:lnSpc>
              <a:buNone/>
              <a:defRPr/>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BD072149-0578-4A4E-BE9E-AD3F812FF071}"/>
              </a:ext>
            </a:extLst>
          </p:cNvPr>
          <p:cNvPicPr>
            <a:picLocks noChangeAspect="1"/>
          </p:cNvPicPr>
          <p:nvPr/>
        </p:nvPicPr>
        <p:blipFill>
          <a:blip r:embed="rId5"/>
          <a:stretch>
            <a:fillRect/>
          </a:stretch>
        </p:blipFill>
        <p:spPr>
          <a:xfrm>
            <a:off x="2155371" y="1091207"/>
            <a:ext cx="3059706" cy="651604"/>
          </a:xfrm>
          <a:prstGeom prst="rect">
            <a:avLst/>
          </a:prstGeom>
        </p:spPr>
      </p:pic>
      <p:graphicFrame>
        <p:nvGraphicFramePr>
          <p:cNvPr id="2" name="Table 1">
            <a:extLst>
              <a:ext uri="{FF2B5EF4-FFF2-40B4-BE49-F238E27FC236}">
                <a16:creationId xmlns:a16="http://schemas.microsoft.com/office/drawing/2014/main" id="{99E9A0D9-8390-054F-AEC3-A7CC7EA7EC42}"/>
              </a:ext>
            </a:extLst>
          </p:cNvPr>
          <p:cNvGraphicFramePr>
            <a:graphicFrameLocks noGrp="1"/>
          </p:cNvGraphicFramePr>
          <p:nvPr>
            <p:extLst>
              <p:ext uri="{D42A27DB-BD31-4B8C-83A1-F6EECF244321}">
                <p14:modId xmlns:p14="http://schemas.microsoft.com/office/powerpoint/2010/main" val="3654861784"/>
              </p:ext>
            </p:extLst>
          </p:nvPr>
        </p:nvGraphicFramePr>
        <p:xfrm>
          <a:off x="620486" y="2924117"/>
          <a:ext cx="10951027" cy="2483612"/>
        </p:xfrm>
        <a:graphic>
          <a:graphicData uri="http://schemas.openxmlformats.org/drawingml/2006/table">
            <a:tbl>
              <a:tblPr firstRow="1" bandRow="1">
                <a:tableStyleId>{3B4B98B0-60AC-42C2-AFA5-B58CD77FA1E5}</a:tableStyleId>
              </a:tblPr>
              <a:tblGrid>
                <a:gridCol w="2375981">
                  <a:extLst>
                    <a:ext uri="{9D8B030D-6E8A-4147-A177-3AD203B41FA5}">
                      <a16:colId xmlns:a16="http://schemas.microsoft.com/office/drawing/2014/main" val="2493999770"/>
                    </a:ext>
                  </a:extLst>
                </a:gridCol>
                <a:gridCol w="2287983">
                  <a:extLst>
                    <a:ext uri="{9D8B030D-6E8A-4147-A177-3AD203B41FA5}">
                      <a16:colId xmlns:a16="http://schemas.microsoft.com/office/drawing/2014/main" val="3692366293"/>
                    </a:ext>
                  </a:extLst>
                </a:gridCol>
                <a:gridCol w="1715986">
                  <a:extLst>
                    <a:ext uri="{9D8B030D-6E8A-4147-A177-3AD203B41FA5}">
                      <a16:colId xmlns:a16="http://schemas.microsoft.com/office/drawing/2014/main" val="3479475623"/>
                    </a:ext>
                  </a:extLst>
                </a:gridCol>
                <a:gridCol w="4571077">
                  <a:extLst>
                    <a:ext uri="{9D8B030D-6E8A-4147-A177-3AD203B41FA5}">
                      <a16:colId xmlns:a16="http://schemas.microsoft.com/office/drawing/2014/main" val="1616599266"/>
                    </a:ext>
                  </a:extLst>
                </a:gridCol>
              </a:tblGrid>
              <a:tr h="370840">
                <a:tc>
                  <a:txBody>
                    <a:bodyPr/>
                    <a:lstStyle/>
                    <a:p>
                      <a:r>
                        <a:rPr lang="en-US" dirty="0"/>
                        <a:t>Service</a:t>
                      </a:r>
                    </a:p>
                  </a:txBody>
                  <a:tcPr/>
                </a:tc>
                <a:tc>
                  <a:txBody>
                    <a:bodyPr/>
                    <a:lstStyle/>
                    <a:p>
                      <a:r>
                        <a:rPr lang="en-US" dirty="0"/>
                        <a:t>Comment</a:t>
                      </a:r>
                    </a:p>
                  </a:txBody>
                  <a:tcPr/>
                </a:tc>
                <a:tc>
                  <a:txBody>
                    <a:bodyPr/>
                    <a:lstStyle/>
                    <a:p>
                      <a:r>
                        <a:rPr lang="en-US" dirty="0"/>
                        <a:t>Installed/</a:t>
                      </a:r>
                      <a:br>
                        <a:rPr lang="en-US" dirty="0"/>
                      </a:br>
                      <a:r>
                        <a:rPr lang="en-US" dirty="0"/>
                        <a:t>Supported?</a:t>
                      </a:r>
                    </a:p>
                  </a:txBody>
                  <a:tcPr/>
                </a:tc>
                <a:tc>
                  <a:txBody>
                    <a:bodyPr/>
                    <a:lstStyle/>
                    <a:p>
                      <a:r>
                        <a:rPr lang="en-US" dirty="0"/>
                        <a:t>Workaround</a:t>
                      </a:r>
                    </a:p>
                  </a:txBody>
                  <a:tcPr/>
                </a:tc>
                <a:extLst>
                  <a:ext uri="{0D108BD9-81ED-4DB2-BD59-A6C34878D82A}">
                    <a16:rowId xmlns:a16="http://schemas.microsoft.com/office/drawing/2014/main" val="2847300497"/>
                  </a:ext>
                </a:extLst>
              </a:tr>
              <a:tr h="370840">
                <a:tc>
                  <a:txBody>
                    <a:bodyPr/>
                    <a:lstStyle/>
                    <a:p>
                      <a:r>
                        <a:rPr lang="en-US" dirty="0"/>
                        <a:t>Avro schema registry</a:t>
                      </a:r>
                    </a:p>
                  </a:txBody>
                  <a:tcPr/>
                </a:tc>
                <a:tc>
                  <a:txBody>
                    <a:bodyPr/>
                    <a:lstStyle/>
                    <a:p>
                      <a:r>
                        <a:rPr lang="en-US" dirty="0"/>
                        <a:t>Confluent open source</a:t>
                      </a:r>
                    </a:p>
                  </a:txBody>
                  <a:tcPr/>
                </a:tc>
                <a:tc>
                  <a:txBody>
                    <a:bodyPr/>
                    <a:lstStyle/>
                    <a:p>
                      <a:r>
                        <a:rPr lang="en-US" dirty="0"/>
                        <a:t>No</a:t>
                      </a:r>
                    </a:p>
                  </a:txBody>
                  <a:tcPr/>
                </a:tc>
                <a:tc>
                  <a:txBody>
                    <a:bodyPr/>
                    <a:lstStyle/>
                    <a:p>
                      <a:r>
                        <a:rPr lang="en-US" dirty="0"/>
                        <a:t>Install on edge nodes and use</a:t>
                      </a:r>
                    </a:p>
                  </a:txBody>
                  <a:tcPr/>
                </a:tc>
                <a:extLst>
                  <a:ext uri="{0D108BD9-81ED-4DB2-BD59-A6C34878D82A}">
                    <a16:rowId xmlns:a16="http://schemas.microsoft.com/office/drawing/2014/main" val="1901503850"/>
                  </a:ext>
                </a:extLst>
              </a:tr>
              <a:tr h="370840">
                <a:tc>
                  <a:txBody>
                    <a:bodyPr/>
                    <a:lstStyle/>
                    <a:p>
                      <a:r>
                        <a:rPr lang="en-US" dirty="0"/>
                        <a:t>KafkaConnect API</a:t>
                      </a:r>
                    </a:p>
                  </a:txBody>
                  <a:tcPr/>
                </a:tc>
                <a:tc>
                  <a:txBody>
                    <a:bodyPr/>
                    <a:lstStyle/>
                    <a:p>
                      <a:r>
                        <a:rPr lang="en-US" dirty="0"/>
                        <a:t>Kafka open source</a:t>
                      </a:r>
                    </a:p>
                  </a:txBody>
                  <a:tcPr/>
                </a:tc>
                <a:tc>
                  <a:txBody>
                    <a:bodyPr/>
                    <a:lstStyle/>
                    <a:p>
                      <a:r>
                        <a:rPr lang="en-US" dirty="0"/>
                        <a:t>No</a:t>
                      </a:r>
                    </a:p>
                  </a:txBody>
                  <a:tcPr/>
                </a:tc>
                <a:tc>
                  <a:txBody>
                    <a:bodyPr/>
                    <a:lstStyle/>
                    <a:p>
                      <a:r>
                        <a:rPr lang="en-US" dirty="0"/>
                        <a:t>Install on edge nodes and use</a:t>
                      </a:r>
                    </a:p>
                  </a:txBody>
                  <a:tcPr/>
                </a:tc>
                <a:extLst>
                  <a:ext uri="{0D108BD9-81ED-4DB2-BD59-A6C34878D82A}">
                    <a16:rowId xmlns:a16="http://schemas.microsoft.com/office/drawing/2014/main" val="4016362430"/>
                  </a:ext>
                </a:extLst>
              </a:tr>
              <a:tr h="370840">
                <a:tc>
                  <a:txBody>
                    <a:bodyPr/>
                    <a:lstStyle/>
                    <a:p>
                      <a:r>
                        <a:rPr lang="en-US" dirty="0"/>
                        <a:t>Kafka Streams API</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dirty="0"/>
                        <a:t>Kafka open source</a:t>
                      </a:r>
                    </a:p>
                  </a:txBody>
                  <a:tcPr/>
                </a:tc>
                <a:tc>
                  <a:txBody>
                    <a:bodyPr/>
                    <a:lstStyle/>
                    <a:p>
                      <a:r>
                        <a:rPr lang="en-US" dirty="0"/>
                        <a:t>Yes</a:t>
                      </a:r>
                    </a:p>
                  </a:txBody>
                  <a:tcPr/>
                </a:tc>
                <a:tc>
                  <a:txBody>
                    <a:bodyPr/>
                    <a:lstStyle/>
                    <a:p>
                      <a:endParaRPr lang="en-US"/>
                    </a:p>
                  </a:txBody>
                  <a:tcPr/>
                </a:tc>
                <a:extLst>
                  <a:ext uri="{0D108BD9-81ED-4DB2-BD59-A6C34878D82A}">
                    <a16:rowId xmlns:a16="http://schemas.microsoft.com/office/drawing/2014/main" val="3736367809"/>
                  </a:ext>
                </a:extLst>
              </a:tr>
              <a:tr h="370840">
                <a:tc>
                  <a:txBody>
                    <a:bodyPr/>
                    <a:lstStyle/>
                    <a:p>
                      <a:r>
                        <a:rPr lang="en-US" dirty="0"/>
                        <a:t>KSQL</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dirty="0"/>
                        <a:t>Confluent open source</a:t>
                      </a:r>
                    </a:p>
                  </a:txBody>
                  <a:tcPr/>
                </a:tc>
                <a:tc>
                  <a:txBody>
                    <a:bodyPr/>
                    <a:lstStyle/>
                    <a:p>
                      <a:r>
                        <a:rPr lang="en-US" dirty="0"/>
                        <a:t>No</a:t>
                      </a:r>
                    </a:p>
                  </a:txBody>
                  <a:tcPr/>
                </a:tc>
                <a:tc>
                  <a:txBody>
                    <a:bodyPr/>
                    <a:lstStyle/>
                    <a:p>
                      <a:r>
                        <a:rPr lang="en-US" dirty="0"/>
                        <a:t>Install on edge nodes and use</a:t>
                      </a:r>
                    </a:p>
                  </a:txBody>
                  <a:tcPr/>
                </a:tc>
                <a:extLst>
                  <a:ext uri="{0D108BD9-81ED-4DB2-BD59-A6C34878D82A}">
                    <a16:rowId xmlns:a16="http://schemas.microsoft.com/office/drawing/2014/main" val="2587718787"/>
                  </a:ext>
                </a:extLst>
              </a:tr>
              <a:tr h="370840">
                <a:tc>
                  <a:txBody>
                    <a:bodyPr/>
                    <a:lstStyle/>
                    <a:p>
                      <a:r>
                        <a:rPr lang="en-US" dirty="0"/>
                        <a:t>REST proxy</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dirty="0"/>
                        <a:t>Confluent open source</a:t>
                      </a:r>
                    </a:p>
                  </a:txBody>
                  <a:tcPr/>
                </a:tc>
                <a:tc>
                  <a:txBody>
                    <a:bodyPr/>
                    <a:lstStyle/>
                    <a:p>
                      <a:r>
                        <a:rPr lang="en-US" dirty="0"/>
                        <a:t>No</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dirty="0"/>
                        <a:t>Install on edge nodes and use</a:t>
                      </a:r>
                    </a:p>
                  </a:txBody>
                  <a:tcPr/>
                </a:tc>
                <a:extLst>
                  <a:ext uri="{0D108BD9-81ED-4DB2-BD59-A6C34878D82A}">
                    <a16:rowId xmlns:a16="http://schemas.microsoft.com/office/drawing/2014/main" val="1560118643"/>
                  </a:ext>
                </a:extLst>
              </a:tr>
            </a:tbl>
          </a:graphicData>
        </a:graphic>
      </p:graphicFrame>
    </p:spTree>
    <p:extLst>
      <p:ext uri="{BB962C8B-B14F-4D97-AF65-F5344CB8AC3E}">
        <p14:creationId xmlns:p14="http://schemas.microsoft.com/office/powerpoint/2010/main" val="6987683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Provisioning options</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93556" y="1189178"/>
            <a:ext cx="11177958" cy="526122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dirty="0">
                <a:gradFill>
                  <a:gsLst>
                    <a:gs pos="2917">
                      <a:schemeClr val="tx1"/>
                    </a:gs>
                    <a:gs pos="30000">
                      <a:schemeClr val="tx1"/>
                    </a:gs>
                  </a:gsLst>
                  <a:lin ang="5400000" scaled="0"/>
                </a:gradFill>
              </a:rPr>
              <a:t>Azure portal</a:t>
            </a:r>
          </a:p>
          <a:p>
            <a:pPr marL="0" indent="0">
              <a:lnSpc>
                <a:spcPct val="100000"/>
              </a:lnSpc>
              <a:buNone/>
              <a:defRPr/>
            </a:pPr>
            <a:r>
              <a:rPr lang="en-US" sz="1800" dirty="0">
                <a:gradFill>
                  <a:gsLst>
                    <a:gs pos="2917">
                      <a:schemeClr val="tx1"/>
                    </a:gs>
                    <a:gs pos="30000">
                      <a:schemeClr val="tx1"/>
                    </a:gs>
                  </a:gsLst>
                  <a:lin ang="5400000" scaled="0"/>
                </a:gradFill>
                <a:hlinkClick r:id="rId5"/>
              </a:rPr>
              <a:t>https://docs.microsoft.com/en-us/azure/hdinsight/kafka/apache-kafka-get-started</a:t>
            </a:r>
            <a:endParaRPr lang="en-US" sz="1800" dirty="0">
              <a:gradFill>
                <a:gsLst>
                  <a:gs pos="2917">
                    <a:schemeClr val="tx1"/>
                  </a:gs>
                  <a:gs pos="30000">
                    <a:schemeClr val="tx1"/>
                  </a:gs>
                </a:gsLst>
                <a:lin ang="5400000" scaled="0"/>
              </a:gradFill>
            </a:endParaRPr>
          </a:p>
          <a:p>
            <a:pPr marL="0" indent="0">
              <a:lnSpc>
                <a:spcPct val="100000"/>
              </a:lnSpc>
              <a:buNone/>
              <a:defRPr/>
            </a:pPr>
            <a:endParaRPr lang="en-US" sz="1800" dirty="0">
              <a:gradFill>
                <a:gsLst>
                  <a:gs pos="2917">
                    <a:schemeClr val="tx1"/>
                  </a:gs>
                  <a:gs pos="30000">
                    <a:schemeClr val="tx1"/>
                  </a:gs>
                </a:gsLst>
                <a:lin ang="5400000" scaled="0"/>
              </a:gradFill>
            </a:endParaRPr>
          </a:p>
          <a:p>
            <a:pPr>
              <a:lnSpc>
                <a:spcPct val="100000"/>
              </a:lnSpc>
              <a:defRPr/>
            </a:pPr>
            <a:r>
              <a:rPr lang="en-US" dirty="0">
                <a:gradFill>
                  <a:gsLst>
                    <a:gs pos="2917">
                      <a:schemeClr val="tx1"/>
                    </a:gs>
                    <a:gs pos="30000">
                      <a:schemeClr val="tx1"/>
                    </a:gs>
                  </a:gsLst>
                  <a:lin ang="5400000" scaled="0"/>
                </a:gradFill>
              </a:rPr>
              <a:t>PowerShell</a:t>
            </a:r>
          </a:p>
          <a:p>
            <a:pPr marL="0" indent="0">
              <a:lnSpc>
                <a:spcPct val="100000"/>
              </a:lnSpc>
              <a:buNone/>
              <a:defRPr/>
            </a:pPr>
            <a:r>
              <a:rPr lang="en-US" sz="1800" dirty="0">
                <a:gradFill>
                  <a:gsLst>
                    <a:gs pos="2917">
                      <a:schemeClr val="tx1"/>
                    </a:gs>
                    <a:gs pos="30000">
                      <a:schemeClr val="tx1"/>
                    </a:gs>
                  </a:gsLst>
                  <a:lin ang="5400000" scaled="0"/>
                </a:gradFill>
                <a:hlinkClick r:id="rId6"/>
              </a:rPr>
              <a:t>https://docs.microsoft.com/en-us/azure/hdinsight/kafka/apache-kafka-quickstart-powershell</a:t>
            </a:r>
            <a:endParaRPr lang="en-US" sz="1800" dirty="0">
              <a:gradFill>
                <a:gsLst>
                  <a:gs pos="2917">
                    <a:schemeClr val="tx1"/>
                  </a:gs>
                  <a:gs pos="30000">
                    <a:schemeClr val="tx1"/>
                  </a:gs>
                </a:gsLst>
                <a:lin ang="5400000" scaled="0"/>
              </a:gradFill>
            </a:endParaRPr>
          </a:p>
          <a:p>
            <a:pPr marL="0" indent="0">
              <a:lnSpc>
                <a:spcPct val="100000"/>
              </a:lnSpc>
              <a:buNone/>
              <a:defRPr/>
            </a:pPr>
            <a:endParaRPr lang="en-US" sz="1800" dirty="0">
              <a:gradFill>
                <a:gsLst>
                  <a:gs pos="2917">
                    <a:schemeClr val="tx1"/>
                  </a:gs>
                  <a:gs pos="30000">
                    <a:schemeClr val="tx1"/>
                  </a:gs>
                </a:gsLst>
                <a:lin ang="5400000" scaled="0"/>
              </a:gradFill>
            </a:endParaRPr>
          </a:p>
          <a:p>
            <a:pPr>
              <a:lnSpc>
                <a:spcPct val="100000"/>
              </a:lnSpc>
              <a:defRPr/>
            </a:pPr>
            <a:r>
              <a:rPr lang="en-US" dirty="0">
                <a:gradFill>
                  <a:gsLst>
                    <a:gs pos="2917">
                      <a:schemeClr val="tx1"/>
                    </a:gs>
                    <a:gs pos="30000">
                      <a:schemeClr val="tx1"/>
                    </a:gs>
                  </a:gsLst>
                  <a:lin ang="5400000" scaled="0"/>
                </a:gradFill>
              </a:rPr>
              <a:t>ARM template</a:t>
            </a:r>
          </a:p>
          <a:p>
            <a:pPr marL="0" indent="0">
              <a:lnSpc>
                <a:spcPct val="100000"/>
              </a:lnSpc>
              <a:buNone/>
              <a:defRPr/>
            </a:pPr>
            <a:r>
              <a:rPr lang="en-US" sz="1800" dirty="0">
                <a:gradFill>
                  <a:gsLst>
                    <a:gs pos="2917">
                      <a:schemeClr val="tx1"/>
                    </a:gs>
                    <a:gs pos="30000">
                      <a:schemeClr val="tx1"/>
                    </a:gs>
                  </a:gsLst>
                  <a:lin ang="5400000" scaled="0"/>
                </a:gradFill>
                <a:hlinkClick r:id="rId7">
                  <a:extLst>
                    <a:ext uri="{A12FA001-AC4F-418D-AE19-62706E023703}">
                      <ahyp:hlinkClr xmlns:ahyp="http://schemas.microsoft.com/office/drawing/2018/hyperlinkcolor" val="tx"/>
                    </a:ext>
                  </a:extLst>
                </a:hlinkClick>
              </a:rPr>
              <a:t>https://docs.microsoft.com/en-us/azure/hdinsight/kafka/apache-kafka-quickstart-resource-manager-template</a:t>
            </a:r>
            <a:endParaRPr lang="en-US" sz="1800" dirty="0">
              <a:gradFill>
                <a:gsLst>
                  <a:gs pos="2917">
                    <a:schemeClr val="tx1"/>
                  </a:gs>
                  <a:gs pos="30000">
                    <a:schemeClr val="tx1"/>
                  </a:gs>
                </a:gsLst>
                <a:lin ang="5400000" scaled="0"/>
              </a:gradFill>
            </a:endParaRPr>
          </a:p>
          <a:p>
            <a:pPr>
              <a:lnSpc>
                <a:spcPct val="100000"/>
              </a:lnSpc>
              <a:defRPr/>
            </a:pP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0266235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Customize clusters with…</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93556" y="1189178"/>
            <a:ext cx="11177958" cy="526122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en-US" dirty="0">
                <a:gradFill>
                  <a:gsLst>
                    <a:gs pos="2917">
                      <a:schemeClr val="tx1"/>
                    </a:gs>
                    <a:gs pos="30000">
                      <a:schemeClr val="tx1"/>
                    </a:gs>
                  </a:gsLst>
                  <a:lin ang="5400000" scaled="0"/>
                </a:gradFill>
              </a:rPr>
              <a:t>Bootstrapping</a:t>
            </a:r>
          </a:p>
          <a:p>
            <a:pPr marL="0" indent="0">
              <a:lnSpc>
                <a:spcPct val="100000"/>
              </a:lnSpc>
              <a:buNone/>
              <a:defRPr/>
            </a:pPr>
            <a:r>
              <a:rPr lang="en-US" sz="2000" dirty="0">
                <a:gradFill>
                  <a:gsLst>
                    <a:gs pos="2917">
                      <a:schemeClr val="tx1"/>
                    </a:gs>
                    <a:gs pos="30000">
                      <a:schemeClr val="tx1"/>
                    </a:gs>
                  </a:gsLst>
                  <a:lin ang="5400000" scaled="0"/>
                </a:gradFill>
              </a:rPr>
              <a:t>Use </a:t>
            </a:r>
            <a:r>
              <a:rPr lang="en-US" sz="2000" dirty="0" err="1">
                <a:gradFill>
                  <a:gsLst>
                    <a:gs pos="2917">
                      <a:schemeClr val="tx1"/>
                    </a:gs>
                    <a:gs pos="30000">
                      <a:schemeClr val="tx1"/>
                    </a:gs>
                  </a:gsLst>
                  <a:lin ang="5400000" scaled="0"/>
                </a:gradFill>
              </a:rPr>
              <a:t>Powershell</a:t>
            </a:r>
            <a:r>
              <a:rPr lang="en-US" sz="2000" dirty="0">
                <a:gradFill>
                  <a:gsLst>
                    <a:gs pos="2917">
                      <a:schemeClr val="tx1"/>
                    </a:gs>
                    <a:gs pos="30000">
                      <a:schemeClr val="tx1"/>
                    </a:gs>
                  </a:gsLst>
                  <a:lin ang="5400000" scaled="0"/>
                </a:gradFill>
              </a:rPr>
              <a:t> to bootstrap clusters with configuration files located in blob storage</a:t>
            </a:r>
          </a:p>
          <a:p>
            <a:pPr marL="0" indent="0">
              <a:lnSpc>
                <a:spcPct val="100000"/>
              </a:lnSpc>
              <a:buNone/>
              <a:defRPr/>
            </a:pPr>
            <a:r>
              <a:rPr lang="en-US" sz="1400" dirty="0">
                <a:gradFill>
                  <a:gsLst>
                    <a:gs pos="2917">
                      <a:schemeClr val="tx1"/>
                    </a:gs>
                    <a:gs pos="30000">
                      <a:schemeClr val="tx1"/>
                    </a:gs>
                  </a:gsLst>
                  <a:lin ang="5400000" scaled="0"/>
                </a:gradFill>
                <a:hlinkClick r:id="rId5"/>
              </a:rPr>
              <a:t>https://docs.microsoft.com/en-us/azure/hdinsight/hdinsight-hadoop-customize-cluster-bootstrap?toc=%2Fen-us%2Fazure%2Fhdinsight%2Fkafka%2FTOC.json&amp;bc=%2Fen-us%2Fazure%2Fbread%2Ftoc.json</a:t>
            </a:r>
            <a:endParaRPr lang="en-US" sz="1400" dirty="0">
              <a:gradFill>
                <a:gsLst>
                  <a:gs pos="2917">
                    <a:schemeClr val="tx1"/>
                  </a:gs>
                  <a:gs pos="30000">
                    <a:schemeClr val="tx1"/>
                  </a:gs>
                </a:gsLst>
                <a:lin ang="5400000" scaled="0"/>
              </a:gradFill>
            </a:endParaRPr>
          </a:p>
          <a:p>
            <a:pPr marL="0" indent="0">
              <a:lnSpc>
                <a:spcPct val="100000"/>
              </a:lnSpc>
              <a:buNone/>
              <a:defRPr/>
            </a:pPr>
            <a:endParaRPr lang="en-US" sz="1400" dirty="0">
              <a:gradFill>
                <a:gsLst>
                  <a:gs pos="2917">
                    <a:schemeClr val="tx1"/>
                  </a:gs>
                  <a:gs pos="30000">
                    <a:schemeClr val="tx1"/>
                  </a:gs>
                </a:gsLst>
                <a:lin ang="5400000" scaled="0"/>
              </a:gradFill>
            </a:endParaRPr>
          </a:p>
          <a:p>
            <a:pPr>
              <a:lnSpc>
                <a:spcPct val="100000"/>
              </a:lnSpc>
              <a:defRPr/>
            </a:pPr>
            <a:r>
              <a:rPr lang="en-US" dirty="0">
                <a:gradFill>
                  <a:gsLst>
                    <a:gs pos="2917">
                      <a:schemeClr val="tx1"/>
                    </a:gs>
                    <a:gs pos="30000">
                      <a:schemeClr val="tx1"/>
                    </a:gs>
                  </a:gsLst>
                  <a:lin ang="5400000" scaled="0"/>
                </a:gradFill>
              </a:rPr>
              <a:t>Script actions</a:t>
            </a:r>
          </a:p>
          <a:p>
            <a:pPr marL="0" indent="0">
              <a:lnSpc>
                <a:spcPct val="100000"/>
              </a:lnSpc>
              <a:buNone/>
              <a:defRPr/>
            </a:pPr>
            <a:endParaRPr lang="en-US" sz="2000" dirty="0">
              <a:gradFill>
                <a:gsLst>
                  <a:gs pos="2917">
                    <a:schemeClr val="tx1"/>
                  </a:gs>
                  <a:gs pos="30000">
                    <a:schemeClr val="tx1"/>
                  </a:gs>
                </a:gsLst>
                <a:lin ang="5400000" scaled="0"/>
              </a:gradFill>
            </a:endParaRPr>
          </a:p>
        </p:txBody>
      </p:sp>
      <p:pic>
        <p:nvPicPr>
          <p:cNvPr id="2" name="Picture 1">
            <a:extLst>
              <a:ext uri="{FF2B5EF4-FFF2-40B4-BE49-F238E27FC236}">
                <a16:creationId xmlns:a16="http://schemas.microsoft.com/office/drawing/2014/main" id="{BCFCFD43-E319-6E4B-82F4-0F6839CA515F}"/>
              </a:ext>
            </a:extLst>
          </p:cNvPr>
          <p:cNvPicPr>
            <a:picLocks noChangeAspect="1"/>
          </p:cNvPicPr>
          <p:nvPr/>
        </p:nvPicPr>
        <p:blipFill>
          <a:blip r:embed="rId6"/>
          <a:stretch>
            <a:fillRect/>
          </a:stretch>
        </p:blipFill>
        <p:spPr>
          <a:xfrm>
            <a:off x="6764786" y="2819399"/>
            <a:ext cx="4383999" cy="3442607"/>
          </a:xfrm>
          <a:prstGeom prst="rect">
            <a:avLst/>
          </a:prstGeom>
        </p:spPr>
      </p:pic>
      <p:sp>
        <p:nvSpPr>
          <p:cNvPr id="3" name="Rectangle 2">
            <a:extLst>
              <a:ext uri="{FF2B5EF4-FFF2-40B4-BE49-F238E27FC236}">
                <a16:creationId xmlns:a16="http://schemas.microsoft.com/office/drawing/2014/main" id="{73597C8F-9CE9-8446-9481-E7AC54C61F1E}"/>
              </a:ext>
            </a:extLst>
          </p:cNvPr>
          <p:cNvSpPr/>
          <p:nvPr/>
        </p:nvSpPr>
        <p:spPr>
          <a:xfrm>
            <a:off x="393556" y="3569065"/>
            <a:ext cx="6096000" cy="1200329"/>
          </a:xfrm>
          <a:prstGeom prst="rect">
            <a:avLst/>
          </a:prstGeom>
        </p:spPr>
        <p:txBody>
          <a:bodyPr>
            <a:spAutoFit/>
          </a:bodyPr>
          <a:lstStyle/>
          <a:p>
            <a:pPr>
              <a:defRPr/>
            </a:pPr>
            <a:r>
              <a:rPr lang="en-US" dirty="0">
                <a:gradFill>
                  <a:gsLst>
                    <a:gs pos="2917">
                      <a:schemeClr val="tx1"/>
                    </a:gs>
                    <a:gs pos="30000">
                      <a:schemeClr val="tx1"/>
                    </a:gs>
                  </a:gsLst>
                  <a:lin ang="5400000" scaled="0"/>
                </a:gradFill>
              </a:rPr>
              <a:t>Leverage to install/configure cluster at creation/live cluster</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A few script actions available out of the box for use</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Create your script (bash), store in accessible storage (blob storage), attach to the cluster</a:t>
            </a:r>
          </a:p>
        </p:txBody>
      </p:sp>
    </p:spTree>
    <p:extLst>
      <p:ext uri="{BB962C8B-B14F-4D97-AF65-F5344CB8AC3E}">
        <p14:creationId xmlns:p14="http://schemas.microsoft.com/office/powerpoint/2010/main" val="7759044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5371" y="289513"/>
            <a:ext cx="9769708" cy="899665"/>
          </a:xfrm>
        </p:spPr>
        <p:txBody>
          <a:bodyPr/>
          <a:lstStyle/>
          <a:p>
            <a:r>
              <a:rPr lang="en-US" dirty="0"/>
              <a:t>Add edge nodes…</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17355" y="1307262"/>
            <a:ext cx="11607724" cy="526122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b="1" dirty="0">
                <a:gradFill>
                  <a:gsLst>
                    <a:gs pos="2917">
                      <a:schemeClr val="tx1"/>
                    </a:gs>
                    <a:gs pos="30000">
                      <a:schemeClr val="tx1"/>
                    </a:gs>
                  </a:gsLst>
                  <a:lin ang="5400000" scaled="0"/>
                </a:gradFill>
              </a:rPr>
              <a:t>Why? </a:t>
            </a:r>
            <a:br>
              <a:rPr lang="en-US"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Add edge nodes to run services like KafkaConnect, KSQL etc.</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0" indent="0">
              <a:buNone/>
            </a:pPr>
            <a:r>
              <a:rPr lang="en-US" b="1" dirty="0">
                <a:gradFill>
                  <a:gsLst>
                    <a:gs pos="2917">
                      <a:schemeClr val="tx1"/>
                    </a:gs>
                    <a:gs pos="30000">
                      <a:schemeClr val="tx1"/>
                    </a:gs>
                  </a:gsLst>
                  <a:lin ang="5400000" scaled="0"/>
                </a:gradFill>
              </a:rPr>
              <a:t>Any limits?</a:t>
            </a:r>
            <a:br>
              <a:rPr lang="en-US"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You can add as many edge nodes as needed</a:t>
            </a: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r>
              <a:rPr lang="en-US" b="1" dirty="0">
                <a:gradFill>
                  <a:gsLst>
                    <a:gs pos="2917">
                      <a:schemeClr val="tx1"/>
                    </a:gs>
                    <a:gs pos="30000">
                      <a:schemeClr val="tx1"/>
                    </a:gs>
                  </a:gsLst>
                  <a:lin ang="5400000" scaled="0"/>
                </a:gradFill>
              </a:rPr>
              <a:t>What’s out of the box?</a:t>
            </a:r>
            <a:br>
              <a:rPr lang="en-US"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hey are automatically domain joined with ESP clusters, and come with all Kafka client libraries preinstalled</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0" indent="0">
              <a:buNone/>
            </a:pPr>
            <a:r>
              <a:rPr lang="en-US" b="1" dirty="0">
                <a:gradFill>
                  <a:gsLst>
                    <a:gs pos="2917">
                      <a:schemeClr val="tx1"/>
                    </a:gs>
                    <a:gs pos="30000">
                      <a:schemeClr val="tx1"/>
                    </a:gs>
                  </a:gsLst>
                  <a:lin ang="5400000" scaled="0"/>
                </a:gradFill>
              </a:rPr>
              <a:t>How to provision?</a:t>
            </a:r>
          </a:p>
          <a:p>
            <a:pPr marL="0" indent="0">
              <a:lnSpc>
                <a:spcPct val="100000"/>
              </a:lnSpc>
              <a:buNone/>
              <a:defRPr/>
            </a:pPr>
            <a:r>
              <a:rPr lang="en-US" sz="2400" dirty="0">
                <a:gradFill>
                  <a:gsLst>
                    <a:gs pos="2917">
                      <a:schemeClr val="tx1"/>
                    </a:gs>
                    <a:gs pos="30000">
                      <a:schemeClr val="tx1"/>
                    </a:gs>
                  </a:gsLst>
                  <a:lin ang="5400000" scaled="0"/>
                </a:gradFill>
                <a:hlinkClick r:id="rId5"/>
              </a:rPr>
              <a:t>https://docs.microsoft.com/en-us/azure/hdinsight/hdinsight-apps-use-edge-node#add-an-edge-node-when-creating-a-cluster</a:t>
            </a:r>
            <a:endParaRPr lang="en-US" sz="2400" dirty="0">
              <a:gradFill>
                <a:gsLst>
                  <a:gs pos="2917">
                    <a:schemeClr val="tx1"/>
                  </a:gs>
                  <a:gs pos="30000">
                    <a:schemeClr val="tx1"/>
                  </a:gs>
                </a:gsLst>
                <a:lin ang="5400000" scaled="0"/>
              </a:gradFill>
            </a:endParaRPr>
          </a:p>
          <a:p>
            <a:pPr marL="0" indent="0">
              <a:lnSpc>
                <a:spcPct val="100000"/>
              </a:lnSpc>
              <a:buNone/>
              <a:defRPr/>
            </a:pPr>
            <a:endParaRPr lang="en-US" dirty="0">
              <a:gradFill>
                <a:gsLst>
                  <a:gs pos="2917">
                    <a:schemeClr val="tx1"/>
                  </a:gs>
                  <a:gs pos="30000">
                    <a:schemeClr val="tx1"/>
                  </a:gs>
                </a:gsLst>
                <a:lin ang="5400000" scaled="0"/>
              </a:gradFill>
            </a:endParaRPr>
          </a:p>
          <a:p>
            <a:pPr marL="0" indent="0">
              <a:lnSpc>
                <a:spcPct val="100000"/>
              </a:lnSpc>
              <a:buNone/>
              <a:defRPr/>
            </a:pP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0316084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41838" y="188903"/>
            <a:ext cx="9769708" cy="899665"/>
          </a:xfrm>
        </p:spPr>
        <p:txBody>
          <a:bodyPr/>
          <a:lstStyle/>
          <a:p>
            <a:r>
              <a:rPr lang="en-US" dirty="0"/>
              <a:t>Topology</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2" name="Rounded Rectangle 1">
            <a:extLst>
              <a:ext uri="{FF2B5EF4-FFF2-40B4-BE49-F238E27FC236}">
                <a16:creationId xmlns:a16="http://schemas.microsoft.com/office/drawing/2014/main" id="{F54DE0FB-AB36-F649-9EF8-9F35475A4EF9}"/>
              </a:ext>
            </a:extLst>
          </p:cNvPr>
          <p:cNvSpPr/>
          <p:nvPr/>
        </p:nvSpPr>
        <p:spPr bwMode="auto">
          <a:xfrm>
            <a:off x="3682075" y="2049149"/>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ead node</a:t>
            </a:r>
          </a:p>
        </p:txBody>
      </p:sp>
      <p:sp>
        <p:nvSpPr>
          <p:cNvPr id="7" name="Rounded Rectangle 6">
            <a:extLst>
              <a:ext uri="{FF2B5EF4-FFF2-40B4-BE49-F238E27FC236}">
                <a16:creationId xmlns:a16="http://schemas.microsoft.com/office/drawing/2014/main" id="{A00AE40A-AAB4-0F48-B0B8-2556BC7A33BE}"/>
              </a:ext>
            </a:extLst>
          </p:cNvPr>
          <p:cNvSpPr/>
          <p:nvPr/>
        </p:nvSpPr>
        <p:spPr bwMode="auto">
          <a:xfrm>
            <a:off x="5804789" y="2049149"/>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ead node</a:t>
            </a:r>
          </a:p>
        </p:txBody>
      </p:sp>
      <p:sp>
        <p:nvSpPr>
          <p:cNvPr id="10" name="Rounded Rectangle 9">
            <a:extLst>
              <a:ext uri="{FF2B5EF4-FFF2-40B4-BE49-F238E27FC236}">
                <a16:creationId xmlns:a16="http://schemas.microsoft.com/office/drawing/2014/main" id="{984A7F44-6FC8-8F49-9EE4-32791921409F}"/>
              </a:ext>
            </a:extLst>
          </p:cNvPr>
          <p:cNvSpPr/>
          <p:nvPr/>
        </p:nvSpPr>
        <p:spPr bwMode="auto">
          <a:xfrm>
            <a:off x="2841172" y="3145971"/>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Zookeeper</a:t>
            </a:r>
          </a:p>
        </p:txBody>
      </p:sp>
      <p:sp>
        <p:nvSpPr>
          <p:cNvPr id="11" name="Rounded Rectangle 10">
            <a:extLst>
              <a:ext uri="{FF2B5EF4-FFF2-40B4-BE49-F238E27FC236}">
                <a16:creationId xmlns:a16="http://schemas.microsoft.com/office/drawing/2014/main" id="{37DE8E45-A6B0-0745-9492-A0C66A84D344}"/>
              </a:ext>
            </a:extLst>
          </p:cNvPr>
          <p:cNvSpPr/>
          <p:nvPr/>
        </p:nvSpPr>
        <p:spPr bwMode="auto">
          <a:xfrm>
            <a:off x="4933932" y="3145971"/>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Zookeeper</a:t>
            </a:r>
          </a:p>
        </p:txBody>
      </p:sp>
      <p:sp>
        <p:nvSpPr>
          <p:cNvPr id="12" name="Rounded Rectangle 11">
            <a:extLst>
              <a:ext uri="{FF2B5EF4-FFF2-40B4-BE49-F238E27FC236}">
                <a16:creationId xmlns:a16="http://schemas.microsoft.com/office/drawing/2014/main" id="{4895149A-90B6-BC4C-BA61-EA04A63CF41C}"/>
              </a:ext>
            </a:extLst>
          </p:cNvPr>
          <p:cNvSpPr/>
          <p:nvPr/>
        </p:nvSpPr>
        <p:spPr bwMode="auto">
          <a:xfrm>
            <a:off x="7026692" y="3145971"/>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Zookeeper</a:t>
            </a:r>
          </a:p>
        </p:txBody>
      </p:sp>
      <p:sp>
        <p:nvSpPr>
          <p:cNvPr id="13" name="Rounded Rectangle 12">
            <a:extLst>
              <a:ext uri="{FF2B5EF4-FFF2-40B4-BE49-F238E27FC236}">
                <a16:creationId xmlns:a16="http://schemas.microsoft.com/office/drawing/2014/main" id="{1EC7B4EC-59CA-DF4F-B1BC-5FD4FAFE1455}"/>
              </a:ext>
            </a:extLst>
          </p:cNvPr>
          <p:cNvSpPr/>
          <p:nvPr/>
        </p:nvSpPr>
        <p:spPr bwMode="auto">
          <a:xfrm>
            <a:off x="859972" y="4560873"/>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roker 1</a:t>
            </a:r>
          </a:p>
        </p:txBody>
      </p:sp>
      <p:sp>
        <p:nvSpPr>
          <p:cNvPr id="14" name="Rounded Rectangle 13">
            <a:extLst>
              <a:ext uri="{FF2B5EF4-FFF2-40B4-BE49-F238E27FC236}">
                <a16:creationId xmlns:a16="http://schemas.microsoft.com/office/drawing/2014/main" id="{198FC551-308A-0246-B0EF-227623A6D5FA}"/>
              </a:ext>
            </a:extLst>
          </p:cNvPr>
          <p:cNvSpPr/>
          <p:nvPr/>
        </p:nvSpPr>
        <p:spPr bwMode="auto">
          <a:xfrm>
            <a:off x="2952732" y="4560873"/>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roker 2</a:t>
            </a:r>
          </a:p>
        </p:txBody>
      </p:sp>
      <p:sp>
        <p:nvSpPr>
          <p:cNvPr id="15" name="Rounded Rectangle 14">
            <a:extLst>
              <a:ext uri="{FF2B5EF4-FFF2-40B4-BE49-F238E27FC236}">
                <a16:creationId xmlns:a16="http://schemas.microsoft.com/office/drawing/2014/main" id="{F690B4F1-A9B9-F24F-B883-181BC2BB185C}"/>
              </a:ext>
            </a:extLst>
          </p:cNvPr>
          <p:cNvSpPr/>
          <p:nvPr/>
        </p:nvSpPr>
        <p:spPr bwMode="auto">
          <a:xfrm>
            <a:off x="5045492" y="4560873"/>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roker 3</a:t>
            </a:r>
          </a:p>
        </p:txBody>
      </p:sp>
      <p:sp>
        <p:nvSpPr>
          <p:cNvPr id="16" name="Rounded Rectangle 15">
            <a:extLst>
              <a:ext uri="{FF2B5EF4-FFF2-40B4-BE49-F238E27FC236}">
                <a16:creationId xmlns:a16="http://schemas.microsoft.com/office/drawing/2014/main" id="{75B3A919-FABE-7A4A-A6C2-8CDB81270434}"/>
              </a:ext>
            </a:extLst>
          </p:cNvPr>
          <p:cNvSpPr/>
          <p:nvPr/>
        </p:nvSpPr>
        <p:spPr bwMode="auto">
          <a:xfrm>
            <a:off x="7154618" y="4560873"/>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roker 4</a:t>
            </a:r>
          </a:p>
        </p:txBody>
      </p:sp>
      <p:sp>
        <p:nvSpPr>
          <p:cNvPr id="17" name="Rounded Rectangle 16">
            <a:extLst>
              <a:ext uri="{FF2B5EF4-FFF2-40B4-BE49-F238E27FC236}">
                <a16:creationId xmlns:a16="http://schemas.microsoft.com/office/drawing/2014/main" id="{3EE7A61A-401F-1248-9CA0-F1927256B2CB}"/>
              </a:ext>
            </a:extLst>
          </p:cNvPr>
          <p:cNvSpPr/>
          <p:nvPr/>
        </p:nvSpPr>
        <p:spPr bwMode="auto">
          <a:xfrm>
            <a:off x="9263744" y="4560873"/>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roker n</a:t>
            </a:r>
          </a:p>
        </p:txBody>
      </p:sp>
      <p:sp>
        <p:nvSpPr>
          <p:cNvPr id="3" name="TextBox 2">
            <a:extLst>
              <a:ext uri="{FF2B5EF4-FFF2-40B4-BE49-F238E27FC236}">
                <a16:creationId xmlns:a16="http://schemas.microsoft.com/office/drawing/2014/main" id="{39BC9AAF-5326-BA46-B587-9D49C70590FF}"/>
              </a:ext>
            </a:extLst>
          </p:cNvPr>
          <p:cNvSpPr txBox="1"/>
          <p:nvPr/>
        </p:nvSpPr>
        <p:spPr>
          <a:xfrm>
            <a:off x="7927503" y="2082399"/>
            <a:ext cx="3001755"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Runs management services – Ambari, Ranger etc in HA</a:t>
            </a:r>
          </a:p>
        </p:txBody>
      </p:sp>
      <p:sp>
        <p:nvSpPr>
          <p:cNvPr id="5" name="Double Brace 4">
            <a:extLst>
              <a:ext uri="{FF2B5EF4-FFF2-40B4-BE49-F238E27FC236}">
                <a16:creationId xmlns:a16="http://schemas.microsoft.com/office/drawing/2014/main" id="{BA5BF2AA-21B6-3449-9A74-70A94ADA31CC}"/>
              </a:ext>
            </a:extLst>
          </p:cNvPr>
          <p:cNvSpPr/>
          <p:nvPr/>
        </p:nvSpPr>
        <p:spPr>
          <a:xfrm rot="5400000">
            <a:off x="5301749" y="-260849"/>
            <a:ext cx="1572988" cy="10487573"/>
          </a:xfrm>
          <a:prstGeom prst="bracePair">
            <a:avLst/>
          </a:prstGeom>
          <a:ln w="28575">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675DD610-788F-9542-A382-F295952D8C39}"/>
              </a:ext>
            </a:extLst>
          </p:cNvPr>
          <p:cNvSpPr txBox="1"/>
          <p:nvPr/>
        </p:nvSpPr>
        <p:spPr>
          <a:xfrm>
            <a:off x="1541680" y="5740608"/>
            <a:ext cx="852621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roker VM SKU, disks per node and scale – managed by customer</a:t>
            </a:r>
          </a:p>
        </p:txBody>
      </p:sp>
      <p:sp>
        <p:nvSpPr>
          <p:cNvPr id="20" name="Rounded Rectangle 19">
            <a:extLst>
              <a:ext uri="{FF2B5EF4-FFF2-40B4-BE49-F238E27FC236}">
                <a16:creationId xmlns:a16="http://schemas.microsoft.com/office/drawing/2014/main" id="{93988E78-F60A-2C49-834C-A0C37D4D6388}"/>
              </a:ext>
            </a:extLst>
          </p:cNvPr>
          <p:cNvSpPr/>
          <p:nvPr/>
        </p:nvSpPr>
        <p:spPr bwMode="auto">
          <a:xfrm>
            <a:off x="3682075" y="1075041"/>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ateway node</a:t>
            </a:r>
          </a:p>
        </p:txBody>
      </p:sp>
      <p:sp>
        <p:nvSpPr>
          <p:cNvPr id="21" name="Rounded Rectangle 20">
            <a:extLst>
              <a:ext uri="{FF2B5EF4-FFF2-40B4-BE49-F238E27FC236}">
                <a16:creationId xmlns:a16="http://schemas.microsoft.com/office/drawing/2014/main" id="{9EC3D1A9-FF88-6E44-8002-855A27BD2174}"/>
              </a:ext>
            </a:extLst>
          </p:cNvPr>
          <p:cNvSpPr/>
          <p:nvPr/>
        </p:nvSpPr>
        <p:spPr bwMode="auto">
          <a:xfrm>
            <a:off x="5804789" y="1075041"/>
            <a:ext cx="1981200" cy="8273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ateway node</a:t>
            </a:r>
          </a:p>
        </p:txBody>
      </p:sp>
      <p:sp>
        <p:nvSpPr>
          <p:cNvPr id="22" name="Rectangle 21">
            <a:extLst>
              <a:ext uri="{FF2B5EF4-FFF2-40B4-BE49-F238E27FC236}">
                <a16:creationId xmlns:a16="http://schemas.microsoft.com/office/drawing/2014/main" id="{4519863D-AB73-D04C-A067-12748B8DAB2D}"/>
              </a:ext>
            </a:extLst>
          </p:cNvPr>
          <p:cNvSpPr/>
          <p:nvPr/>
        </p:nvSpPr>
        <p:spPr bwMode="auto">
          <a:xfrm>
            <a:off x="3339616" y="903668"/>
            <a:ext cx="4930346" cy="1110035"/>
          </a:xfrm>
          <a:prstGeom prst="rect">
            <a:avLst/>
          </a:prstGeom>
          <a:solidFill>
            <a:schemeClr val="bg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40667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176113-2B73-A742-ACBA-5028E6F6FCAE}"/>
              </a:ext>
            </a:extLst>
          </p:cNvPr>
          <p:cNvPicPr>
            <a:picLocks noChangeAspect="1"/>
          </p:cNvPicPr>
          <p:nvPr/>
        </p:nvPicPr>
        <p:blipFill>
          <a:blip r:embed="rId2"/>
          <a:stretch>
            <a:fillRect/>
          </a:stretch>
        </p:blipFill>
        <p:spPr>
          <a:xfrm>
            <a:off x="2595679" y="217714"/>
            <a:ext cx="6165211" cy="6248400"/>
          </a:xfrm>
          <a:prstGeom prst="rect">
            <a:avLst/>
          </a:prstGeom>
        </p:spPr>
      </p:pic>
    </p:spTree>
    <p:extLst>
      <p:ext uri="{BB962C8B-B14F-4D97-AF65-F5344CB8AC3E}">
        <p14:creationId xmlns:p14="http://schemas.microsoft.com/office/powerpoint/2010/main" val="5911210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045890" y="-36734"/>
            <a:ext cx="9769708" cy="899665"/>
          </a:xfrm>
        </p:spPr>
        <p:txBody>
          <a:bodyPr/>
          <a:lstStyle/>
          <a:p>
            <a:r>
              <a:rPr lang="en-US" dirty="0"/>
              <a:t>Deployment layout</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101" name="Slide Number Placeholder 2">
            <a:extLst>
              <a:ext uri="{FF2B5EF4-FFF2-40B4-BE49-F238E27FC236}">
                <a16:creationId xmlns:a16="http://schemas.microsoft.com/office/drawing/2014/main" id="{B77F28E8-FE4A-774E-96D9-3B6C1C1E70B4}"/>
              </a:ext>
            </a:extLst>
          </p:cNvPr>
          <p:cNvSpPr txBox="1">
            <a:spLocks/>
          </p:cNvSpPr>
          <p:nvPr/>
        </p:nvSpPr>
        <p:spPr>
          <a:xfrm>
            <a:off x="4818519" y="6622132"/>
            <a:ext cx="2797850" cy="3723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04">
              <a:defRPr/>
            </a:pPr>
            <a:fld id="{B3284435-B9E8-4310-A8E1-531589206034}" type="slidenum">
              <a:rPr lang="en-US" sz="1836" kern="0" smtClean="0">
                <a:solidFill>
                  <a:sysClr val="windowText" lastClr="000000"/>
                </a:solidFill>
                <a:latin typeface="Segoe UI"/>
              </a:rPr>
              <a:pPr defTabSz="932504">
                <a:defRPr/>
              </a:pPr>
              <a:t>27</a:t>
            </a:fld>
            <a:endParaRPr lang="en-US" sz="1836" kern="0">
              <a:solidFill>
                <a:sysClr val="windowText" lastClr="000000"/>
              </a:solidFill>
              <a:latin typeface="Segoe UI"/>
            </a:endParaRPr>
          </a:p>
        </p:txBody>
      </p:sp>
      <p:pic>
        <p:nvPicPr>
          <p:cNvPr id="102" name="Picture 101">
            <a:extLst>
              <a:ext uri="{FF2B5EF4-FFF2-40B4-BE49-F238E27FC236}">
                <a16:creationId xmlns:a16="http://schemas.microsoft.com/office/drawing/2014/main" id="{507E8085-C622-034B-915A-0CF72A6C2F9C}"/>
              </a:ext>
            </a:extLst>
          </p:cNvPr>
          <p:cNvPicPr>
            <a:picLocks noChangeAspect="1"/>
          </p:cNvPicPr>
          <p:nvPr/>
        </p:nvPicPr>
        <p:blipFill>
          <a:blip r:embed="rId5"/>
          <a:stretch>
            <a:fillRect/>
          </a:stretch>
        </p:blipFill>
        <p:spPr>
          <a:xfrm>
            <a:off x="2849505" y="3339180"/>
            <a:ext cx="780190" cy="780190"/>
          </a:xfrm>
          <a:prstGeom prst="rect">
            <a:avLst/>
          </a:prstGeom>
        </p:spPr>
      </p:pic>
      <p:sp>
        <p:nvSpPr>
          <p:cNvPr id="103" name="Rectangle: Rounded Corners 5">
            <a:extLst>
              <a:ext uri="{FF2B5EF4-FFF2-40B4-BE49-F238E27FC236}">
                <a16:creationId xmlns:a16="http://schemas.microsoft.com/office/drawing/2014/main" id="{F433A319-AD32-C34B-A648-98417430A151}"/>
              </a:ext>
            </a:extLst>
          </p:cNvPr>
          <p:cNvSpPr/>
          <p:nvPr/>
        </p:nvSpPr>
        <p:spPr>
          <a:xfrm>
            <a:off x="553721" y="1597224"/>
            <a:ext cx="1899392" cy="4648680"/>
          </a:xfrm>
          <a:prstGeom prst="round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prstClr val="black">
                  <a:lumMod val="50000"/>
                  <a:lumOff val="50000"/>
                </a:prstClr>
              </a:solidFill>
              <a:latin typeface="Segoe UI"/>
            </a:endParaRPr>
          </a:p>
        </p:txBody>
      </p:sp>
      <p:sp>
        <p:nvSpPr>
          <p:cNvPr id="104" name="TextBox 103">
            <a:extLst>
              <a:ext uri="{FF2B5EF4-FFF2-40B4-BE49-F238E27FC236}">
                <a16:creationId xmlns:a16="http://schemas.microsoft.com/office/drawing/2014/main" id="{08BD342E-671D-624E-B095-A0E641C7BD42}"/>
              </a:ext>
            </a:extLst>
          </p:cNvPr>
          <p:cNvSpPr txBox="1"/>
          <p:nvPr/>
        </p:nvSpPr>
        <p:spPr>
          <a:xfrm>
            <a:off x="811266" y="1315083"/>
            <a:ext cx="1564584" cy="307738"/>
          </a:xfrm>
          <a:prstGeom prst="rect">
            <a:avLst/>
          </a:prstGeom>
          <a:noFill/>
          <a:ln>
            <a:noFill/>
          </a:ln>
        </p:spPr>
        <p:txBody>
          <a:bodyPr wrap="square" rtlCol="0">
            <a:spAutoFit/>
          </a:bodyPr>
          <a:lstStyle/>
          <a:p>
            <a:pPr defTabSz="914309">
              <a:defRPr/>
            </a:pPr>
            <a:r>
              <a:rPr lang="en-US" sz="1400" b="1" kern="0" dirty="0">
                <a:solidFill>
                  <a:srgbClr val="0070C0"/>
                </a:solidFill>
                <a:latin typeface="+mj-lt"/>
              </a:rPr>
              <a:t>On-premise</a:t>
            </a:r>
          </a:p>
        </p:txBody>
      </p:sp>
      <p:sp>
        <p:nvSpPr>
          <p:cNvPr id="105" name="Rectangle 104">
            <a:extLst>
              <a:ext uri="{FF2B5EF4-FFF2-40B4-BE49-F238E27FC236}">
                <a16:creationId xmlns:a16="http://schemas.microsoft.com/office/drawing/2014/main" id="{FABA2EF5-EAAE-3F4C-B9E6-98A8BCAFFF2B}"/>
              </a:ext>
            </a:extLst>
          </p:cNvPr>
          <p:cNvSpPr/>
          <p:nvPr/>
        </p:nvSpPr>
        <p:spPr>
          <a:xfrm>
            <a:off x="3863171" y="836321"/>
            <a:ext cx="8177040" cy="591179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pic>
        <p:nvPicPr>
          <p:cNvPr id="106" name="Picture 105">
            <a:extLst>
              <a:ext uri="{FF2B5EF4-FFF2-40B4-BE49-F238E27FC236}">
                <a16:creationId xmlns:a16="http://schemas.microsoft.com/office/drawing/2014/main" id="{14B63A47-66D2-A14B-A6C7-92D5FDA69C90}"/>
              </a:ext>
            </a:extLst>
          </p:cNvPr>
          <p:cNvPicPr>
            <a:picLocks noChangeAspect="1"/>
          </p:cNvPicPr>
          <p:nvPr/>
        </p:nvPicPr>
        <p:blipFill>
          <a:blip r:embed="rId6"/>
          <a:stretch>
            <a:fillRect/>
          </a:stretch>
        </p:blipFill>
        <p:spPr>
          <a:xfrm>
            <a:off x="3921146" y="596081"/>
            <a:ext cx="704102" cy="479643"/>
          </a:xfrm>
          <a:prstGeom prst="rect">
            <a:avLst/>
          </a:prstGeom>
        </p:spPr>
      </p:pic>
      <p:sp>
        <p:nvSpPr>
          <p:cNvPr id="107" name="TextBox 106">
            <a:extLst>
              <a:ext uri="{FF2B5EF4-FFF2-40B4-BE49-F238E27FC236}">
                <a16:creationId xmlns:a16="http://schemas.microsoft.com/office/drawing/2014/main" id="{B979B22C-DE5A-1045-8CF9-DA0479957BDC}"/>
              </a:ext>
            </a:extLst>
          </p:cNvPr>
          <p:cNvSpPr txBox="1"/>
          <p:nvPr/>
        </p:nvSpPr>
        <p:spPr>
          <a:xfrm>
            <a:off x="4530504" y="583557"/>
            <a:ext cx="1450853" cy="307738"/>
          </a:xfrm>
          <a:prstGeom prst="rect">
            <a:avLst/>
          </a:prstGeom>
          <a:noFill/>
          <a:ln>
            <a:noFill/>
          </a:ln>
        </p:spPr>
        <p:txBody>
          <a:bodyPr wrap="square" rtlCol="0">
            <a:spAutoFit/>
          </a:bodyPr>
          <a:lstStyle>
            <a:defPPr>
              <a:defRPr lang="en-US"/>
            </a:defPPr>
            <a:lvl1pPr>
              <a:defRPr b="1">
                <a:solidFill>
                  <a:srgbClr val="0070C0"/>
                </a:solidFill>
                <a:latin typeface="Consolas" panose="020B0609020204030204" pitchFamily="49" charset="0"/>
              </a:defRPr>
            </a:lvl1pPr>
          </a:lstStyle>
          <a:p>
            <a:pPr defTabSz="914309">
              <a:defRPr/>
            </a:pPr>
            <a:r>
              <a:rPr lang="en-US" sz="1400" kern="0" dirty="0">
                <a:latin typeface="+mj-lt"/>
              </a:rPr>
              <a:t>Azure</a:t>
            </a:r>
            <a:r>
              <a:rPr lang="en-US" sz="1400" kern="0" dirty="0"/>
              <a:t> </a:t>
            </a:r>
            <a:r>
              <a:rPr lang="en-US" sz="1400" kern="0" dirty="0">
                <a:latin typeface="+mj-lt"/>
              </a:rPr>
              <a:t>vnet</a:t>
            </a:r>
          </a:p>
        </p:txBody>
      </p:sp>
      <p:sp>
        <p:nvSpPr>
          <p:cNvPr id="108" name="TextBox 107">
            <a:extLst>
              <a:ext uri="{FF2B5EF4-FFF2-40B4-BE49-F238E27FC236}">
                <a16:creationId xmlns:a16="http://schemas.microsoft.com/office/drawing/2014/main" id="{41AF5543-889D-074D-91CC-69DA11918974}"/>
              </a:ext>
            </a:extLst>
          </p:cNvPr>
          <p:cNvSpPr txBox="1"/>
          <p:nvPr/>
        </p:nvSpPr>
        <p:spPr>
          <a:xfrm>
            <a:off x="3954533" y="2495932"/>
            <a:ext cx="1933941" cy="307738"/>
          </a:xfrm>
          <a:prstGeom prst="rect">
            <a:avLst/>
          </a:prstGeom>
          <a:noFill/>
        </p:spPr>
        <p:txBody>
          <a:bodyPr wrap="square" rtlCol="0">
            <a:spAutoFit/>
          </a:bodyPr>
          <a:lstStyle/>
          <a:p>
            <a:pPr algn="ctr" defTabSz="914309">
              <a:defRPr/>
            </a:pPr>
            <a:r>
              <a:rPr lang="en-US" sz="1400" b="1" kern="0" dirty="0">
                <a:solidFill>
                  <a:srgbClr val="0070C0"/>
                </a:solidFill>
                <a:latin typeface="+mj-lt"/>
              </a:rPr>
              <a:t>Gateway subnet</a:t>
            </a:r>
          </a:p>
        </p:txBody>
      </p:sp>
      <p:pic>
        <p:nvPicPr>
          <p:cNvPr id="109" name="Picture 108">
            <a:extLst>
              <a:ext uri="{FF2B5EF4-FFF2-40B4-BE49-F238E27FC236}">
                <a16:creationId xmlns:a16="http://schemas.microsoft.com/office/drawing/2014/main" id="{A7E5038F-9A6E-634D-9237-6EE5AAC302EE}"/>
              </a:ext>
            </a:extLst>
          </p:cNvPr>
          <p:cNvPicPr>
            <a:picLocks noChangeAspect="1"/>
          </p:cNvPicPr>
          <p:nvPr/>
        </p:nvPicPr>
        <p:blipFill>
          <a:blip r:embed="rId7"/>
          <a:stretch>
            <a:fillRect/>
          </a:stretch>
        </p:blipFill>
        <p:spPr>
          <a:xfrm flipH="1">
            <a:off x="4708041" y="4123764"/>
            <a:ext cx="714345" cy="611667"/>
          </a:xfrm>
          <a:prstGeom prst="rect">
            <a:avLst/>
          </a:prstGeom>
        </p:spPr>
      </p:pic>
      <p:cxnSp>
        <p:nvCxnSpPr>
          <p:cNvPr id="110" name="Connector: Elbow 23">
            <a:extLst>
              <a:ext uri="{FF2B5EF4-FFF2-40B4-BE49-F238E27FC236}">
                <a16:creationId xmlns:a16="http://schemas.microsoft.com/office/drawing/2014/main" id="{086D15A0-D6A1-CF40-BA53-E3736E3C25E9}"/>
              </a:ext>
            </a:extLst>
          </p:cNvPr>
          <p:cNvCxnSpPr/>
          <p:nvPr/>
        </p:nvCxnSpPr>
        <p:spPr>
          <a:xfrm>
            <a:off x="2453113" y="3579115"/>
            <a:ext cx="647348" cy="111552"/>
          </a:xfrm>
          <a:prstGeom prst="bentConnector3">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25">
            <a:extLst>
              <a:ext uri="{FF2B5EF4-FFF2-40B4-BE49-F238E27FC236}">
                <a16:creationId xmlns:a16="http://schemas.microsoft.com/office/drawing/2014/main" id="{C3884677-5CA8-5642-92C1-33626AAB5A8A}"/>
              </a:ext>
            </a:extLst>
          </p:cNvPr>
          <p:cNvCxnSpPr>
            <a:stCxn id="129" idx="2"/>
            <a:endCxn id="109" idx="3"/>
          </p:cNvCxnSpPr>
          <p:nvPr/>
        </p:nvCxnSpPr>
        <p:spPr>
          <a:xfrm rot="16200000" flipH="1">
            <a:off x="3825544" y="3547101"/>
            <a:ext cx="270992" cy="1494001"/>
          </a:xfrm>
          <a:prstGeom prst="bentConnector2">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025F31E9-1D96-5045-BFFE-DA1B46F19803}"/>
              </a:ext>
            </a:extLst>
          </p:cNvPr>
          <p:cNvSpPr/>
          <p:nvPr/>
        </p:nvSpPr>
        <p:spPr>
          <a:xfrm>
            <a:off x="4312069" y="2821594"/>
            <a:ext cx="1644409" cy="2475658"/>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13" name="Rectangle 112">
            <a:extLst>
              <a:ext uri="{FF2B5EF4-FFF2-40B4-BE49-F238E27FC236}">
                <a16:creationId xmlns:a16="http://schemas.microsoft.com/office/drawing/2014/main" id="{841246B1-3230-0442-9BBB-E582FA8D3535}"/>
              </a:ext>
            </a:extLst>
          </p:cNvPr>
          <p:cNvSpPr/>
          <p:nvPr/>
        </p:nvSpPr>
        <p:spPr>
          <a:xfrm>
            <a:off x="6516335" y="1384793"/>
            <a:ext cx="5270350" cy="4920772"/>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14" name="TextBox 113">
            <a:extLst>
              <a:ext uri="{FF2B5EF4-FFF2-40B4-BE49-F238E27FC236}">
                <a16:creationId xmlns:a16="http://schemas.microsoft.com/office/drawing/2014/main" id="{7753B060-5B5C-0248-A784-5AD40A57B98F}"/>
              </a:ext>
            </a:extLst>
          </p:cNvPr>
          <p:cNvSpPr txBox="1"/>
          <p:nvPr/>
        </p:nvSpPr>
        <p:spPr>
          <a:xfrm>
            <a:off x="6416752" y="1085364"/>
            <a:ext cx="1481496"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HDInsight subnet</a:t>
            </a:r>
          </a:p>
        </p:txBody>
      </p:sp>
      <p:pic>
        <p:nvPicPr>
          <p:cNvPr id="115" name="Picture 114">
            <a:extLst>
              <a:ext uri="{FF2B5EF4-FFF2-40B4-BE49-F238E27FC236}">
                <a16:creationId xmlns:a16="http://schemas.microsoft.com/office/drawing/2014/main" id="{3D021DDE-44AD-634A-B566-1E208E74D2EC}"/>
              </a:ext>
            </a:extLst>
          </p:cNvPr>
          <p:cNvPicPr>
            <a:picLocks noChangeAspect="1"/>
          </p:cNvPicPr>
          <p:nvPr/>
        </p:nvPicPr>
        <p:blipFill>
          <a:blip r:embed="rId8"/>
          <a:stretch>
            <a:fillRect/>
          </a:stretch>
        </p:blipFill>
        <p:spPr>
          <a:xfrm>
            <a:off x="8209123" y="1687783"/>
            <a:ext cx="780190" cy="780190"/>
          </a:xfrm>
          <a:prstGeom prst="rect">
            <a:avLst/>
          </a:prstGeom>
        </p:spPr>
      </p:pic>
      <p:pic>
        <p:nvPicPr>
          <p:cNvPr id="116" name="Picture 115">
            <a:extLst>
              <a:ext uri="{FF2B5EF4-FFF2-40B4-BE49-F238E27FC236}">
                <a16:creationId xmlns:a16="http://schemas.microsoft.com/office/drawing/2014/main" id="{C0B4BB74-9156-5544-A8A0-E6FD17B7B93C}"/>
              </a:ext>
            </a:extLst>
          </p:cNvPr>
          <p:cNvPicPr>
            <a:picLocks noChangeAspect="1"/>
          </p:cNvPicPr>
          <p:nvPr/>
        </p:nvPicPr>
        <p:blipFill>
          <a:blip r:embed="rId8"/>
          <a:stretch>
            <a:fillRect/>
          </a:stretch>
        </p:blipFill>
        <p:spPr>
          <a:xfrm>
            <a:off x="9023552" y="1697369"/>
            <a:ext cx="780190" cy="780190"/>
          </a:xfrm>
          <a:prstGeom prst="rect">
            <a:avLst/>
          </a:prstGeom>
        </p:spPr>
      </p:pic>
      <p:pic>
        <p:nvPicPr>
          <p:cNvPr id="117" name="Picture 116">
            <a:extLst>
              <a:ext uri="{FF2B5EF4-FFF2-40B4-BE49-F238E27FC236}">
                <a16:creationId xmlns:a16="http://schemas.microsoft.com/office/drawing/2014/main" id="{93A665EF-5825-B242-8849-FA6FED62ED57}"/>
              </a:ext>
            </a:extLst>
          </p:cNvPr>
          <p:cNvPicPr>
            <a:picLocks noChangeAspect="1"/>
          </p:cNvPicPr>
          <p:nvPr/>
        </p:nvPicPr>
        <p:blipFill>
          <a:blip r:embed="rId9"/>
          <a:stretch>
            <a:fillRect/>
          </a:stretch>
        </p:blipFill>
        <p:spPr>
          <a:xfrm>
            <a:off x="11261852" y="1135060"/>
            <a:ext cx="348963" cy="402830"/>
          </a:xfrm>
          <a:prstGeom prst="rect">
            <a:avLst/>
          </a:prstGeom>
        </p:spPr>
      </p:pic>
      <p:sp>
        <p:nvSpPr>
          <p:cNvPr id="118" name="Rectangle 117">
            <a:extLst>
              <a:ext uri="{FF2B5EF4-FFF2-40B4-BE49-F238E27FC236}">
                <a16:creationId xmlns:a16="http://schemas.microsoft.com/office/drawing/2014/main" id="{0C2FCBD0-167D-0E4E-9A29-AA7080020336}"/>
              </a:ext>
            </a:extLst>
          </p:cNvPr>
          <p:cNvSpPr/>
          <p:nvPr/>
        </p:nvSpPr>
        <p:spPr>
          <a:xfrm>
            <a:off x="6939254" y="1685765"/>
            <a:ext cx="4283248" cy="80041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19" name="Rectangle 118">
            <a:extLst>
              <a:ext uri="{FF2B5EF4-FFF2-40B4-BE49-F238E27FC236}">
                <a16:creationId xmlns:a16="http://schemas.microsoft.com/office/drawing/2014/main" id="{D480F3EF-FDE0-BD46-B0B3-F050ED611517}"/>
              </a:ext>
            </a:extLst>
          </p:cNvPr>
          <p:cNvSpPr/>
          <p:nvPr/>
        </p:nvSpPr>
        <p:spPr>
          <a:xfrm>
            <a:off x="6930744" y="2612899"/>
            <a:ext cx="4291758" cy="784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20" name="TextBox 119">
            <a:extLst>
              <a:ext uri="{FF2B5EF4-FFF2-40B4-BE49-F238E27FC236}">
                <a16:creationId xmlns:a16="http://schemas.microsoft.com/office/drawing/2014/main" id="{BD62A939-AABB-FF40-9F5F-BE782D2E1B4D}"/>
              </a:ext>
            </a:extLst>
          </p:cNvPr>
          <p:cNvSpPr txBox="1"/>
          <p:nvPr/>
        </p:nvSpPr>
        <p:spPr>
          <a:xfrm>
            <a:off x="10108484" y="2764830"/>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Brok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21" name="Picture 120">
            <a:extLst>
              <a:ext uri="{FF2B5EF4-FFF2-40B4-BE49-F238E27FC236}">
                <a16:creationId xmlns:a16="http://schemas.microsoft.com/office/drawing/2014/main" id="{C6EF2284-6C62-304A-BBE8-3BD84525751C}"/>
              </a:ext>
            </a:extLst>
          </p:cNvPr>
          <p:cNvPicPr>
            <a:picLocks noChangeAspect="1"/>
          </p:cNvPicPr>
          <p:nvPr/>
        </p:nvPicPr>
        <p:blipFill>
          <a:blip r:embed="rId8"/>
          <a:stretch>
            <a:fillRect/>
          </a:stretch>
        </p:blipFill>
        <p:spPr>
          <a:xfrm>
            <a:off x="7393660" y="2605567"/>
            <a:ext cx="780190" cy="780190"/>
          </a:xfrm>
          <a:prstGeom prst="rect">
            <a:avLst/>
          </a:prstGeom>
        </p:spPr>
      </p:pic>
      <p:pic>
        <p:nvPicPr>
          <p:cNvPr id="122" name="Picture 121">
            <a:extLst>
              <a:ext uri="{FF2B5EF4-FFF2-40B4-BE49-F238E27FC236}">
                <a16:creationId xmlns:a16="http://schemas.microsoft.com/office/drawing/2014/main" id="{5EF647C7-4494-0848-9AD2-70777D48726E}"/>
              </a:ext>
            </a:extLst>
          </p:cNvPr>
          <p:cNvPicPr>
            <a:picLocks noChangeAspect="1"/>
          </p:cNvPicPr>
          <p:nvPr/>
        </p:nvPicPr>
        <p:blipFill>
          <a:blip r:embed="rId8"/>
          <a:stretch>
            <a:fillRect/>
          </a:stretch>
        </p:blipFill>
        <p:spPr>
          <a:xfrm>
            <a:off x="9048618" y="2602123"/>
            <a:ext cx="780190" cy="780190"/>
          </a:xfrm>
          <a:prstGeom prst="rect">
            <a:avLst/>
          </a:prstGeom>
        </p:spPr>
      </p:pic>
      <p:pic>
        <p:nvPicPr>
          <p:cNvPr id="123" name="Picture 122">
            <a:extLst>
              <a:ext uri="{FF2B5EF4-FFF2-40B4-BE49-F238E27FC236}">
                <a16:creationId xmlns:a16="http://schemas.microsoft.com/office/drawing/2014/main" id="{10836986-8279-7842-BE48-F6115A8515B9}"/>
              </a:ext>
            </a:extLst>
          </p:cNvPr>
          <p:cNvPicPr>
            <a:picLocks noChangeAspect="1"/>
          </p:cNvPicPr>
          <p:nvPr/>
        </p:nvPicPr>
        <p:blipFill>
          <a:blip r:embed="rId8"/>
          <a:stretch>
            <a:fillRect/>
          </a:stretch>
        </p:blipFill>
        <p:spPr>
          <a:xfrm>
            <a:off x="8221196" y="2605519"/>
            <a:ext cx="780190" cy="780190"/>
          </a:xfrm>
          <a:prstGeom prst="rect">
            <a:avLst/>
          </a:prstGeom>
        </p:spPr>
      </p:pic>
      <p:sp>
        <p:nvSpPr>
          <p:cNvPr id="124" name="Rectangle 123">
            <a:extLst>
              <a:ext uri="{FF2B5EF4-FFF2-40B4-BE49-F238E27FC236}">
                <a16:creationId xmlns:a16="http://schemas.microsoft.com/office/drawing/2014/main" id="{1FDC4EAE-86DF-4D47-9D59-EA0714D46EE6}"/>
              </a:ext>
            </a:extLst>
          </p:cNvPr>
          <p:cNvSpPr/>
          <p:nvPr/>
        </p:nvSpPr>
        <p:spPr>
          <a:xfrm>
            <a:off x="765108" y="4017856"/>
            <a:ext cx="1416496" cy="79606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US" sz="1400" kern="0" dirty="0">
                <a:solidFill>
                  <a:sysClr val="windowText" lastClr="000000"/>
                </a:solidFill>
                <a:latin typeface="Segoe UI"/>
              </a:rPr>
              <a:t>Hadoop URLs/Ambari access</a:t>
            </a:r>
          </a:p>
        </p:txBody>
      </p:sp>
      <p:cxnSp>
        <p:nvCxnSpPr>
          <p:cNvPr id="126" name="Connector: Elbow 82">
            <a:extLst>
              <a:ext uri="{FF2B5EF4-FFF2-40B4-BE49-F238E27FC236}">
                <a16:creationId xmlns:a16="http://schemas.microsoft.com/office/drawing/2014/main" id="{14756079-4E05-6F49-A050-CCFB8EDF7104}"/>
              </a:ext>
            </a:extLst>
          </p:cNvPr>
          <p:cNvCxnSpPr>
            <a:cxnSpLocks/>
          </p:cNvCxnSpPr>
          <p:nvPr/>
        </p:nvCxnSpPr>
        <p:spPr>
          <a:xfrm rot="16200000" flipH="1">
            <a:off x="7178398" y="2574694"/>
            <a:ext cx="1886703" cy="6113072"/>
          </a:xfrm>
          <a:prstGeom prst="bentConnector2">
            <a:avLst/>
          </a:prstGeom>
          <a:ln w="38100">
            <a:solidFill>
              <a:srgbClr val="92D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7" name="Picture 126">
            <a:extLst>
              <a:ext uri="{FF2B5EF4-FFF2-40B4-BE49-F238E27FC236}">
                <a16:creationId xmlns:a16="http://schemas.microsoft.com/office/drawing/2014/main" id="{E7CCB973-89D6-5149-BEAA-BAD6F9FFF0F0}"/>
              </a:ext>
            </a:extLst>
          </p:cNvPr>
          <p:cNvPicPr>
            <a:picLocks noChangeAspect="1"/>
          </p:cNvPicPr>
          <p:nvPr/>
        </p:nvPicPr>
        <p:blipFill>
          <a:blip r:embed="rId10"/>
          <a:stretch>
            <a:fillRect/>
          </a:stretch>
        </p:blipFill>
        <p:spPr>
          <a:xfrm>
            <a:off x="9056838" y="4800558"/>
            <a:ext cx="517113" cy="517113"/>
          </a:xfrm>
          <a:prstGeom prst="rect">
            <a:avLst/>
          </a:prstGeom>
        </p:spPr>
      </p:pic>
      <p:pic>
        <p:nvPicPr>
          <p:cNvPr id="128" name="Picture 127">
            <a:extLst>
              <a:ext uri="{FF2B5EF4-FFF2-40B4-BE49-F238E27FC236}">
                <a16:creationId xmlns:a16="http://schemas.microsoft.com/office/drawing/2014/main" id="{0AB1A425-4A48-D54B-90AA-3894B0B3A7FF}"/>
              </a:ext>
            </a:extLst>
          </p:cNvPr>
          <p:cNvPicPr>
            <a:picLocks noChangeAspect="1"/>
          </p:cNvPicPr>
          <p:nvPr/>
        </p:nvPicPr>
        <p:blipFill>
          <a:blip r:embed="rId11"/>
          <a:stretch>
            <a:fillRect/>
          </a:stretch>
        </p:blipFill>
        <p:spPr>
          <a:xfrm>
            <a:off x="9118355" y="5642879"/>
            <a:ext cx="390095" cy="311854"/>
          </a:xfrm>
          <a:prstGeom prst="rect">
            <a:avLst/>
          </a:prstGeom>
        </p:spPr>
      </p:pic>
      <p:sp>
        <p:nvSpPr>
          <p:cNvPr id="129" name="TextBox 128">
            <a:extLst>
              <a:ext uri="{FF2B5EF4-FFF2-40B4-BE49-F238E27FC236}">
                <a16:creationId xmlns:a16="http://schemas.microsoft.com/office/drawing/2014/main" id="{2778E897-E369-9944-B5CE-B81876D7BAE4}"/>
              </a:ext>
            </a:extLst>
          </p:cNvPr>
          <p:cNvSpPr txBox="1"/>
          <p:nvPr/>
        </p:nvSpPr>
        <p:spPr>
          <a:xfrm>
            <a:off x="2785131" y="3943190"/>
            <a:ext cx="857818" cy="215416"/>
          </a:xfrm>
          <a:prstGeom prst="rect">
            <a:avLst/>
          </a:prstGeom>
          <a:noFill/>
        </p:spPr>
        <p:txBody>
          <a:bodyPr wrap="none" rtlCol="0">
            <a:spAutoFit/>
          </a:bodyPr>
          <a:lstStyle/>
          <a:p>
            <a:pPr algn="ctr" defTabSz="914309">
              <a:defRPr/>
            </a:pPr>
            <a:r>
              <a:rPr lang="en-US" sz="800" kern="0" dirty="0">
                <a:solidFill>
                  <a:prstClr val="black">
                    <a:lumMod val="50000"/>
                    <a:lumOff val="50000"/>
                  </a:prstClr>
                </a:solidFill>
                <a:latin typeface="Consolas" panose="020B0609020204030204" pitchFamily="49" charset="0"/>
              </a:rPr>
              <a:t>ExpressRoute</a:t>
            </a:r>
          </a:p>
        </p:txBody>
      </p:sp>
      <p:pic>
        <p:nvPicPr>
          <p:cNvPr id="130" name="Picture 129">
            <a:extLst>
              <a:ext uri="{FF2B5EF4-FFF2-40B4-BE49-F238E27FC236}">
                <a16:creationId xmlns:a16="http://schemas.microsoft.com/office/drawing/2014/main" id="{16B84DAF-9741-CD4E-81E8-B87D5508F82F}"/>
              </a:ext>
            </a:extLst>
          </p:cNvPr>
          <p:cNvPicPr>
            <a:picLocks noChangeAspect="1"/>
          </p:cNvPicPr>
          <p:nvPr/>
        </p:nvPicPr>
        <p:blipFill>
          <a:blip r:embed="rId12"/>
          <a:stretch>
            <a:fillRect/>
          </a:stretch>
        </p:blipFill>
        <p:spPr>
          <a:xfrm>
            <a:off x="9131068" y="111649"/>
            <a:ext cx="628035" cy="628035"/>
          </a:xfrm>
          <a:prstGeom prst="rect">
            <a:avLst/>
          </a:prstGeom>
        </p:spPr>
      </p:pic>
      <p:sp>
        <p:nvSpPr>
          <p:cNvPr id="131" name="TextBox 130">
            <a:extLst>
              <a:ext uri="{FF2B5EF4-FFF2-40B4-BE49-F238E27FC236}">
                <a16:creationId xmlns:a16="http://schemas.microsoft.com/office/drawing/2014/main" id="{2FA83479-0585-0D40-9E16-06A03FDD83A7}"/>
              </a:ext>
            </a:extLst>
          </p:cNvPr>
          <p:cNvSpPr txBox="1"/>
          <p:nvPr/>
        </p:nvSpPr>
        <p:spPr>
          <a:xfrm>
            <a:off x="9696558" y="363428"/>
            <a:ext cx="633426" cy="215416"/>
          </a:xfrm>
          <a:prstGeom prst="rect">
            <a:avLst/>
          </a:prstGeom>
          <a:noFill/>
        </p:spPr>
        <p:txBody>
          <a:bodyPr wrap="none" rtlCol="0">
            <a:spAutoFit/>
          </a:bodyPr>
          <a:lstStyle/>
          <a:p>
            <a:pPr algn="ctr" defTabSz="914309">
              <a:defRPr/>
            </a:pPr>
            <a:r>
              <a:rPr lang="en-US" sz="800" kern="0" dirty="0">
                <a:solidFill>
                  <a:prstClr val="black">
                    <a:lumMod val="50000"/>
                    <a:lumOff val="50000"/>
                  </a:prstClr>
                </a:solidFill>
                <a:latin typeface="Consolas" panose="020B0609020204030204" pitchFamily="49" charset="0"/>
              </a:rPr>
              <a:t>Internet</a:t>
            </a:r>
          </a:p>
        </p:txBody>
      </p:sp>
      <p:cxnSp>
        <p:nvCxnSpPr>
          <p:cNvPr id="132" name="Connector: Elbow 157">
            <a:extLst>
              <a:ext uri="{FF2B5EF4-FFF2-40B4-BE49-F238E27FC236}">
                <a16:creationId xmlns:a16="http://schemas.microsoft.com/office/drawing/2014/main" id="{CCB4493A-6F98-DE45-B540-3F5095984729}"/>
              </a:ext>
            </a:extLst>
          </p:cNvPr>
          <p:cNvCxnSpPr>
            <a:stCxn id="130" idx="1"/>
          </p:cNvCxnSpPr>
          <p:nvPr/>
        </p:nvCxnSpPr>
        <p:spPr>
          <a:xfrm rot="10800000" flipV="1">
            <a:off x="8332822" y="425666"/>
            <a:ext cx="798246" cy="398499"/>
          </a:xfrm>
          <a:prstGeom prst="bentConnector3">
            <a:avLst>
              <a:gd name="adj1" fmla="val 100815"/>
            </a:avLst>
          </a:prstGeom>
          <a:ln>
            <a:tailEnd type="triangle"/>
          </a:ln>
        </p:spPr>
        <p:style>
          <a:lnRef idx="1">
            <a:schemeClr val="accent1"/>
          </a:lnRef>
          <a:fillRef idx="0">
            <a:schemeClr val="accent1"/>
          </a:fillRef>
          <a:effectRef idx="0">
            <a:schemeClr val="accent1"/>
          </a:effectRef>
          <a:fontRef idx="minor">
            <a:schemeClr val="tx1"/>
          </a:fontRef>
        </p:style>
      </p:cxnSp>
      <p:sp>
        <p:nvSpPr>
          <p:cNvPr id="133" name="Multiplication Sign 158">
            <a:extLst>
              <a:ext uri="{FF2B5EF4-FFF2-40B4-BE49-F238E27FC236}">
                <a16:creationId xmlns:a16="http://schemas.microsoft.com/office/drawing/2014/main" id="{5213DC1E-51AB-AA49-88F7-E4F7A2D779A2}"/>
              </a:ext>
            </a:extLst>
          </p:cNvPr>
          <p:cNvSpPr/>
          <p:nvPr/>
        </p:nvSpPr>
        <p:spPr>
          <a:xfrm>
            <a:off x="8644325" y="217441"/>
            <a:ext cx="203998" cy="39214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34" name="Rectangle 133">
            <a:extLst>
              <a:ext uri="{FF2B5EF4-FFF2-40B4-BE49-F238E27FC236}">
                <a16:creationId xmlns:a16="http://schemas.microsoft.com/office/drawing/2014/main" id="{331F5334-46B2-CE4D-876A-1CD5023DC216}"/>
              </a:ext>
            </a:extLst>
          </p:cNvPr>
          <p:cNvSpPr/>
          <p:nvPr/>
        </p:nvSpPr>
        <p:spPr>
          <a:xfrm>
            <a:off x="4308058" y="1387855"/>
            <a:ext cx="1596438" cy="941692"/>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35" name="TextBox 134">
            <a:extLst>
              <a:ext uri="{FF2B5EF4-FFF2-40B4-BE49-F238E27FC236}">
                <a16:creationId xmlns:a16="http://schemas.microsoft.com/office/drawing/2014/main" id="{1C2CBEBA-1686-CE45-BD8C-C3A133D5EA91}"/>
              </a:ext>
            </a:extLst>
          </p:cNvPr>
          <p:cNvSpPr txBox="1"/>
          <p:nvPr/>
        </p:nvSpPr>
        <p:spPr>
          <a:xfrm>
            <a:off x="4193209" y="1094463"/>
            <a:ext cx="1471878"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Jump box subnet</a:t>
            </a:r>
          </a:p>
        </p:txBody>
      </p:sp>
      <p:pic>
        <p:nvPicPr>
          <p:cNvPr id="136" name="Picture 135">
            <a:extLst>
              <a:ext uri="{FF2B5EF4-FFF2-40B4-BE49-F238E27FC236}">
                <a16:creationId xmlns:a16="http://schemas.microsoft.com/office/drawing/2014/main" id="{26DB17C0-022A-3D45-A830-D1293634AC34}"/>
              </a:ext>
            </a:extLst>
          </p:cNvPr>
          <p:cNvPicPr>
            <a:picLocks noChangeAspect="1"/>
          </p:cNvPicPr>
          <p:nvPr/>
        </p:nvPicPr>
        <p:blipFill>
          <a:blip r:embed="rId8"/>
          <a:stretch>
            <a:fillRect/>
          </a:stretch>
        </p:blipFill>
        <p:spPr>
          <a:xfrm>
            <a:off x="4453760" y="1506611"/>
            <a:ext cx="559647" cy="559647"/>
          </a:xfrm>
          <a:prstGeom prst="rect">
            <a:avLst/>
          </a:prstGeom>
        </p:spPr>
      </p:pic>
      <p:sp>
        <p:nvSpPr>
          <p:cNvPr id="137" name="TextBox 136">
            <a:extLst>
              <a:ext uri="{FF2B5EF4-FFF2-40B4-BE49-F238E27FC236}">
                <a16:creationId xmlns:a16="http://schemas.microsoft.com/office/drawing/2014/main" id="{E6686462-B896-8146-A7DB-CCB9E96BF95D}"/>
              </a:ext>
            </a:extLst>
          </p:cNvPr>
          <p:cNvSpPr txBox="1"/>
          <p:nvPr/>
        </p:nvSpPr>
        <p:spPr>
          <a:xfrm>
            <a:off x="4410119" y="2014693"/>
            <a:ext cx="633426" cy="215416"/>
          </a:xfrm>
          <a:prstGeom prst="rect">
            <a:avLst/>
          </a:prstGeom>
          <a:noFill/>
        </p:spPr>
        <p:txBody>
          <a:bodyPr wrap="none" rtlCol="0">
            <a:spAutoFit/>
          </a:bodyPr>
          <a:lstStyle/>
          <a:p>
            <a:pPr algn="ctr" defTabSz="914309">
              <a:defRPr/>
            </a:pPr>
            <a:r>
              <a:rPr lang="en-US" sz="800" kern="0" dirty="0">
                <a:solidFill>
                  <a:prstClr val="black">
                    <a:lumMod val="50000"/>
                    <a:lumOff val="50000"/>
                  </a:prstClr>
                </a:solidFill>
                <a:latin typeface="Consolas" panose="020B0609020204030204" pitchFamily="49" charset="0"/>
              </a:rPr>
              <a:t>Jump box</a:t>
            </a:r>
          </a:p>
        </p:txBody>
      </p:sp>
      <p:pic>
        <p:nvPicPr>
          <p:cNvPr id="138" name="Picture 137">
            <a:extLst>
              <a:ext uri="{FF2B5EF4-FFF2-40B4-BE49-F238E27FC236}">
                <a16:creationId xmlns:a16="http://schemas.microsoft.com/office/drawing/2014/main" id="{9076190A-9973-E84C-8B53-4E653AB2DD04}"/>
              </a:ext>
            </a:extLst>
          </p:cNvPr>
          <p:cNvPicPr>
            <a:picLocks noChangeAspect="1"/>
          </p:cNvPicPr>
          <p:nvPr/>
        </p:nvPicPr>
        <p:blipFill>
          <a:blip r:embed="rId9"/>
          <a:stretch>
            <a:fillRect/>
          </a:stretch>
        </p:blipFill>
        <p:spPr>
          <a:xfrm>
            <a:off x="5574672" y="1522360"/>
            <a:ext cx="262362" cy="302860"/>
          </a:xfrm>
          <a:prstGeom prst="rect">
            <a:avLst/>
          </a:prstGeom>
        </p:spPr>
      </p:pic>
      <p:sp>
        <p:nvSpPr>
          <p:cNvPr id="139" name="Rectangle 138">
            <a:extLst>
              <a:ext uri="{FF2B5EF4-FFF2-40B4-BE49-F238E27FC236}">
                <a16:creationId xmlns:a16="http://schemas.microsoft.com/office/drawing/2014/main" id="{56B3CDE6-EB61-424F-A871-3D8EB4CBBA9A}"/>
              </a:ext>
            </a:extLst>
          </p:cNvPr>
          <p:cNvSpPr/>
          <p:nvPr/>
        </p:nvSpPr>
        <p:spPr>
          <a:xfrm>
            <a:off x="783091" y="3016206"/>
            <a:ext cx="1416496" cy="8249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sz="1400" kern="0" dirty="0">
              <a:solidFill>
                <a:sysClr val="windowText" lastClr="000000"/>
              </a:solidFill>
              <a:latin typeface="Segoe UI"/>
            </a:endParaRPr>
          </a:p>
          <a:p>
            <a:pPr algn="ctr" defTabSz="914309">
              <a:defRPr/>
            </a:pPr>
            <a:r>
              <a:rPr lang="en-US" sz="1400" kern="0" dirty="0">
                <a:solidFill>
                  <a:sysClr val="windowText" lastClr="000000"/>
                </a:solidFill>
                <a:latin typeface="Segoe UI"/>
              </a:rPr>
              <a:t>Developer SSH access</a:t>
            </a:r>
          </a:p>
          <a:p>
            <a:pPr algn="ctr" defTabSz="914309">
              <a:defRPr/>
            </a:pPr>
            <a:endParaRPr lang="en-US" sz="1400" kern="0" dirty="0">
              <a:solidFill>
                <a:sysClr val="windowText" lastClr="000000"/>
              </a:solidFill>
              <a:latin typeface="Segoe UI"/>
            </a:endParaRPr>
          </a:p>
        </p:txBody>
      </p:sp>
      <p:sp>
        <p:nvSpPr>
          <p:cNvPr id="140" name="Rectangle 139">
            <a:extLst>
              <a:ext uri="{FF2B5EF4-FFF2-40B4-BE49-F238E27FC236}">
                <a16:creationId xmlns:a16="http://schemas.microsoft.com/office/drawing/2014/main" id="{EACC6875-DAB1-DB45-AF86-B667AEE98A60}"/>
              </a:ext>
            </a:extLst>
          </p:cNvPr>
          <p:cNvSpPr/>
          <p:nvPr/>
        </p:nvSpPr>
        <p:spPr>
          <a:xfrm>
            <a:off x="795169" y="2073052"/>
            <a:ext cx="1416496" cy="814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sz="1400" kern="0" dirty="0">
              <a:solidFill>
                <a:prstClr val="white"/>
              </a:solidFill>
              <a:latin typeface="Segoe UI"/>
            </a:endParaRPr>
          </a:p>
          <a:p>
            <a:pPr algn="ctr" defTabSz="914309">
              <a:defRPr/>
            </a:pPr>
            <a:r>
              <a:rPr lang="en-US" sz="1400" kern="0" dirty="0">
                <a:solidFill>
                  <a:prstClr val="white"/>
                </a:solidFill>
                <a:latin typeface="Segoe UI"/>
              </a:rPr>
              <a:t>Administrator  SSH access</a:t>
            </a:r>
          </a:p>
          <a:p>
            <a:pPr algn="ctr" defTabSz="914309">
              <a:defRPr/>
            </a:pPr>
            <a:endParaRPr lang="en-US" sz="1400" kern="0" dirty="0">
              <a:solidFill>
                <a:prstClr val="white"/>
              </a:solidFill>
              <a:latin typeface="Segoe UI"/>
            </a:endParaRPr>
          </a:p>
        </p:txBody>
      </p:sp>
      <p:cxnSp>
        <p:nvCxnSpPr>
          <p:cNvPr id="141" name="Connector: Elbow 103">
            <a:extLst>
              <a:ext uri="{FF2B5EF4-FFF2-40B4-BE49-F238E27FC236}">
                <a16:creationId xmlns:a16="http://schemas.microsoft.com/office/drawing/2014/main" id="{9A5F31D3-7605-DA41-9D3A-26D986BE3586}"/>
              </a:ext>
            </a:extLst>
          </p:cNvPr>
          <p:cNvCxnSpPr>
            <a:cxnSpLocks/>
            <a:stCxn id="109" idx="0"/>
          </p:cNvCxnSpPr>
          <p:nvPr/>
        </p:nvCxnSpPr>
        <p:spPr>
          <a:xfrm rot="5400000" flipH="1" flipV="1">
            <a:off x="4417249" y="2965236"/>
            <a:ext cx="1806493" cy="510565"/>
          </a:xfrm>
          <a:prstGeom prst="bentConnector3">
            <a:avLst>
              <a:gd name="adj1" fmla="val 57109"/>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B2B07074-725C-834F-A874-51F108A0C610}"/>
              </a:ext>
            </a:extLst>
          </p:cNvPr>
          <p:cNvSpPr/>
          <p:nvPr/>
        </p:nvSpPr>
        <p:spPr>
          <a:xfrm>
            <a:off x="6930744" y="3535453"/>
            <a:ext cx="4291758" cy="7685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43" name="TextBox 142">
            <a:extLst>
              <a:ext uri="{FF2B5EF4-FFF2-40B4-BE49-F238E27FC236}">
                <a16:creationId xmlns:a16="http://schemas.microsoft.com/office/drawing/2014/main" id="{2BFC4173-E49F-B341-B121-3FA6BA357AE1}"/>
              </a:ext>
            </a:extLst>
          </p:cNvPr>
          <p:cNvSpPr txBox="1"/>
          <p:nvPr/>
        </p:nvSpPr>
        <p:spPr>
          <a:xfrm>
            <a:off x="9983373" y="1846275"/>
            <a:ext cx="1034257"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Zookeep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44" name="Picture 143">
            <a:extLst>
              <a:ext uri="{FF2B5EF4-FFF2-40B4-BE49-F238E27FC236}">
                <a16:creationId xmlns:a16="http://schemas.microsoft.com/office/drawing/2014/main" id="{25FE4180-F87A-5A47-92DA-EF21D23AF8F2}"/>
              </a:ext>
            </a:extLst>
          </p:cNvPr>
          <p:cNvPicPr>
            <a:picLocks noChangeAspect="1"/>
          </p:cNvPicPr>
          <p:nvPr/>
        </p:nvPicPr>
        <p:blipFill>
          <a:blip r:embed="rId8"/>
          <a:stretch>
            <a:fillRect/>
          </a:stretch>
        </p:blipFill>
        <p:spPr>
          <a:xfrm>
            <a:off x="7932349" y="3507439"/>
            <a:ext cx="780190" cy="780190"/>
          </a:xfrm>
          <a:prstGeom prst="rect">
            <a:avLst/>
          </a:prstGeom>
        </p:spPr>
      </p:pic>
      <p:pic>
        <p:nvPicPr>
          <p:cNvPr id="145" name="Picture 144">
            <a:extLst>
              <a:ext uri="{FF2B5EF4-FFF2-40B4-BE49-F238E27FC236}">
                <a16:creationId xmlns:a16="http://schemas.microsoft.com/office/drawing/2014/main" id="{276727B5-5582-E848-ABF1-6EEBCB72CFE5}"/>
              </a:ext>
            </a:extLst>
          </p:cNvPr>
          <p:cNvPicPr>
            <a:picLocks noChangeAspect="1"/>
          </p:cNvPicPr>
          <p:nvPr/>
        </p:nvPicPr>
        <p:blipFill>
          <a:blip r:embed="rId8"/>
          <a:stretch>
            <a:fillRect/>
          </a:stretch>
        </p:blipFill>
        <p:spPr>
          <a:xfrm>
            <a:off x="8765287" y="3505829"/>
            <a:ext cx="780190" cy="780190"/>
          </a:xfrm>
          <a:prstGeom prst="rect">
            <a:avLst/>
          </a:prstGeom>
        </p:spPr>
      </p:pic>
      <p:pic>
        <p:nvPicPr>
          <p:cNvPr id="146" name="Picture 145">
            <a:extLst>
              <a:ext uri="{FF2B5EF4-FFF2-40B4-BE49-F238E27FC236}">
                <a16:creationId xmlns:a16="http://schemas.microsoft.com/office/drawing/2014/main" id="{1A3B5709-0C23-594F-8CE9-92DA58FA233C}"/>
              </a:ext>
            </a:extLst>
          </p:cNvPr>
          <p:cNvPicPr>
            <a:picLocks noChangeAspect="1"/>
          </p:cNvPicPr>
          <p:nvPr/>
        </p:nvPicPr>
        <p:blipFill>
          <a:blip r:embed="rId8"/>
          <a:stretch>
            <a:fillRect/>
          </a:stretch>
        </p:blipFill>
        <p:spPr>
          <a:xfrm>
            <a:off x="7381040" y="1687783"/>
            <a:ext cx="780190" cy="780190"/>
          </a:xfrm>
          <a:prstGeom prst="rect">
            <a:avLst/>
          </a:prstGeom>
        </p:spPr>
      </p:pic>
      <p:sp>
        <p:nvSpPr>
          <p:cNvPr id="147" name="TextBox 146">
            <a:extLst>
              <a:ext uri="{FF2B5EF4-FFF2-40B4-BE49-F238E27FC236}">
                <a16:creationId xmlns:a16="http://schemas.microsoft.com/office/drawing/2014/main" id="{B248B077-2B71-5E4F-A4E5-E09EE1ADC074}"/>
              </a:ext>
            </a:extLst>
          </p:cNvPr>
          <p:cNvSpPr txBox="1"/>
          <p:nvPr/>
        </p:nvSpPr>
        <p:spPr>
          <a:xfrm>
            <a:off x="10217802" y="3624013"/>
            <a:ext cx="60946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ead </a:t>
            </a:r>
          </a:p>
          <a:p>
            <a:pPr algn="ctr" defTabSz="914309">
              <a:defRPr/>
            </a:pPr>
            <a:r>
              <a:rPr lang="en-US" sz="1200" kern="0" dirty="0">
                <a:solidFill>
                  <a:prstClr val="black">
                    <a:lumMod val="50000"/>
                    <a:lumOff val="50000"/>
                  </a:prstClr>
                </a:solidFill>
                <a:latin typeface="Consolas" panose="020B0609020204030204" pitchFamily="49" charset="0"/>
              </a:rPr>
              <a:t>nodes</a:t>
            </a:r>
          </a:p>
        </p:txBody>
      </p:sp>
      <p:cxnSp>
        <p:nvCxnSpPr>
          <p:cNvPr id="148" name="Connector: Elbow 89">
            <a:extLst>
              <a:ext uri="{FF2B5EF4-FFF2-40B4-BE49-F238E27FC236}">
                <a16:creationId xmlns:a16="http://schemas.microsoft.com/office/drawing/2014/main" id="{2C06EE4E-DCDE-4545-A980-645752A7D7A1}"/>
              </a:ext>
            </a:extLst>
          </p:cNvPr>
          <p:cNvCxnSpPr>
            <a:cxnSpLocks/>
            <a:stCxn id="127" idx="0"/>
          </p:cNvCxnSpPr>
          <p:nvPr/>
        </p:nvCxnSpPr>
        <p:spPr>
          <a:xfrm rot="5400000" flipH="1" flipV="1">
            <a:off x="9155436" y="4640599"/>
            <a:ext cx="319919" cy="1"/>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19B054DF-41D4-3542-A1E7-0F1617E40A67}"/>
              </a:ext>
            </a:extLst>
          </p:cNvPr>
          <p:cNvSpPr txBox="1"/>
          <p:nvPr/>
        </p:nvSpPr>
        <p:spPr>
          <a:xfrm>
            <a:off x="9553098" y="4821643"/>
            <a:ext cx="949298" cy="646331"/>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DInsight</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service </a:t>
            </a:r>
          </a:p>
          <a:p>
            <a:pPr algn="ctr" defTabSz="914309">
              <a:defRPr/>
            </a:pPr>
            <a:r>
              <a:rPr lang="en-US" sz="1200" kern="0" dirty="0">
                <a:solidFill>
                  <a:prstClr val="black">
                    <a:lumMod val="50000"/>
                    <a:lumOff val="50000"/>
                  </a:prstClr>
                </a:solidFill>
                <a:latin typeface="Consolas" panose="020B0609020204030204" pitchFamily="49" charset="0"/>
              </a:rPr>
              <a:t>gateway</a:t>
            </a:r>
          </a:p>
        </p:txBody>
      </p:sp>
      <p:sp>
        <p:nvSpPr>
          <p:cNvPr id="150" name="Arrow: Up-Down 31">
            <a:extLst>
              <a:ext uri="{FF2B5EF4-FFF2-40B4-BE49-F238E27FC236}">
                <a16:creationId xmlns:a16="http://schemas.microsoft.com/office/drawing/2014/main" id="{EA08AF97-8987-DE4C-9017-781F8D04D576}"/>
              </a:ext>
            </a:extLst>
          </p:cNvPr>
          <p:cNvSpPr/>
          <p:nvPr/>
        </p:nvSpPr>
        <p:spPr>
          <a:xfrm>
            <a:off x="8594212" y="248313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Arrow: Up-Down 95">
            <a:extLst>
              <a:ext uri="{FF2B5EF4-FFF2-40B4-BE49-F238E27FC236}">
                <a16:creationId xmlns:a16="http://schemas.microsoft.com/office/drawing/2014/main" id="{92321A22-3124-2147-B094-C4D0654B511E}"/>
              </a:ext>
            </a:extLst>
          </p:cNvPr>
          <p:cNvSpPr/>
          <p:nvPr/>
        </p:nvSpPr>
        <p:spPr>
          <a:xfrm>
            <a:off x="8603554" y="3399207"/>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75301ED7-F31A-3844-8D63-799309D9A2BA}"/>
              </a:ext>
            </a:extLst>
          </p:cNvPr>
          <p:cNvSpPr/>
          <p:nvPr/>
        </p:nvSpPr>
        <p:spPr>
          <a:xfrm>
            <a:off x="6729573" y="1537890"/>
            <a:ext cx="4706760" cy="2915957"/>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9AD9EA53-AE1E-9645-93F8-07312CD55DFE}"/>
              </a:ext>
            </a:extLst>
          </p:cNvPr>
          <p:cNvSpPr/>
          <p:nvPr/>
        </p:nvSpPr>
        <p:spPr>
          <a:xfrm>
            <a:off x="6717821" y="4608583"/>
            <a:ext cx="2153158" cy="1170143"/>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Arrow: Up-Down 116">
            <a:extLst>
              <a:ext uri="{FF2B5EF4-FFF2-40B4-BE49-F238E27FC236}">
                <a16:creationId xmlns:a16="http://schemas.microsoft.com/office/drawing/2014/main" id="{80B39802-3B5A-524A-8052-9AB25B5D4205}"/>
              </a:ext>
            </a:extLst>
          </p:cNvPr>
          <p:cNvSpPr/>
          <p:nvPr/>
        </p:nvSpPr>
        <p:spPr>
          <a:xfrm>
            <a:off x="7858865" y="447196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12AF27F5-496B-5B42-91E4-643C697BDDB4}"/>
              </a:ext>
            </a:extLst>
          </p:cNvPr>
          <p:cNvSpPr txBox="1"/>
          <p:nvPr/>
        </p:nvSpPr>
        <p:spPr>
          <a:xfrm>
            <a:off x="8083053" y="5031926"/>
            <a:ext cx="524503"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Edge</a:t>
            </a:r>
          </a:p>
          <a:p>
            <a:pPr algn="ctr" defTabSz="914309">
              <a:defRPr/>
            </a:pPr>
            <a:r>
              <a:rPr lang="en-US" sz="1200" kern="0" dirty="0">
                <a:solidFill>
                  <a:prstClr val="black">
                    <a:lumMod val="50000"/>
                    <a:lumOff val="50000"/>
                  </a:prstClr>
                </a:solidFill>
                <a:latin typeface="Consolas" panose="020B0609020204030204" pitchFamily="49" charset="0"/>
              </a:rPr>
              <a:t>node</a:t>
            </a:r>
          </a:p>
        </p:txBody>
      </p:sp>
      <p:pic>
        <p:nvPicPr>
          <p:cNvPr id="156" name="Picture 155">
            <a:extLst>
              <a:ext uri="{FF2B5EF4-FFF2-40B4-BE49-F238E27FC236}">
                <a16:creationId xmlns:a16="http://schemas.microsoft.com/office/drawing/2014/main" id="{FC192A0C-9DEB-C145-A58E-A7A111D1CB97}"/>
              </a:ext>
            </a:extLst>
          </p:cNvPr>
          <p:cNvPicPr>
            <a:picLocks noChangeAspect="1"/>
          </p:cNvPicPr>
          <p:nvPr/>
        </p:nvPicPr>
        <p:blipFill>
          <a:blip r:embed="rId8"/>
          <a:stretch>
            <a:fillRect/>
          </a:stretch>
        </p:blipFill>
        <p:spPr>
          <a:xfrm>
            <a:off x="7318943" y="4857467"/>
            <a:ext cx="780190" cy="780190"/>
          </a:xfrm>
          <a:prstGeom prst="rect">
            <a:avLst/>
          </a:prstGeom>
        </p:spPr>
      </p:pic>
      <p:cxnSp>
        <p:nvCxnSpPr>
          <p:cNvPr id="157" name="Connector: Elbow 135">
            <a:extLst>
              <a:ext uri="{FF2B5EF4-FFF2-40B4-BE49-F238E27FC236}">
                <a16:creationId xmlns:a16="http://schemas.microsoft.com/office/drawing/2014/main" id="{597DBC87-7CEA-7B46-B178-9C5708EBB566}"/>
              </a:ext>
            </a:extLst>
          </p:cNvPr>
          <p:cNvCxnSpPr>
            <a:cxnSpLocks/>
            <a:stCxn id="134" idx="3"/>
          </p:cNvCxnSpPr>
          <p:nvPr/>
        </p:nvCxnSpPr>
        <p:spPr>
          <a:xfrm>
            <a:off x="5904496" y="1858701"/>
            <a:ext cx="790838" cy="357474"/>
          </a:xfrm>
          <a:prstGeom prst="bentConnector3">
            <a:avLst/>
          </a:prstGeom>
          <a:ln w="381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Connector: Elbow 141">
            <a:extLst>
              <a:ext uri="{FF2B5EF4-FFF2-40B4-BE49-F238E27FC236}">
                <a16:creationId xmlns:a16="http://schemas.microsoft.com/office/drawing/2014/main" id="{28352845-5204-8C4F-8163-339FCA3AE810}"/>
              </a:ext>
            </a:extLst>
          </p:cNvPr>
          <p:cNvCxnSpPr>
            <a:cxnSpLocks/>
          </p:cNvCxnSpPr>
          <p:nvPr/>
        </p:nvCxnSpPr>
        <p:spPr>
          <a:xfrm rot="5400000" flipH="1" flipV="1">
            <a:off x="4579693" y="2955085"/>
            <a:ext cx="1818259" cy="519098"/>
          </a:xfrm>
          <a:prstGeom prst="bentConnector3">
            <a:avLst>
              <a:gd name="adj1" fmla="val 50000"/>
            </a:avLst>
          </a:prstGeom>
          <a:ln w="381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Connector: Elbow 150">
            <a:extLst>
              <a:ext uri="{FF2B5EF4-FFF2-40B4-BE49-F238E27FC236}">
                <a16:creationId xmlns:a16="http://schemas.microsoft.com/office/drawing/2014/main" id="{3FCD9D01-9354-2E42-A631-E2F40C152659}"/>
              </a:ext>
            </a:extLst>
          </p:cNvPr>
          <p:cNvCxnSpPr>
            <a:cxnSpLocks/>
            <a:stCxn id="134" idx="3"/>
            <a:endCxn id="153" idx="1"/>
          </p:cNvCxnSpPr>
          <p:nvPr/>
        </p:nvCxnSpPr>
        <p:spPr>
          <a:xfrm>
            <a:off x="5904496" y="1858701"/>
            <a:ext cx="813325" cy="3334954"/>
          </a:xfrm>
          <a:prstGeom prst="bentConnector3">
            <a:avLst>
              <a:gd name="adj1" fmla="val 50000"/>
            </a:avLst>
          </a:prstGeom>
          <a:ln w="38100">
            <a:solidFill>
              <a:schemeClr val="accent6">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Connector: Elbow 162">
            <a:extLst>
              <a:ext uri="{FF2B5EF4-FFF2-40B4-BE49-F238E27FC236}">
                <a16:creationId xmlns:a16="http://schemas.microsoft.com/office/drawing/2014/main" id="{D573B110-BCAD-8A4C-BC0E-6864E8929E50}"/>
              </a:ext>
            </a:extLst>
          </p:cNvPr>
          <p:cNvCxnSpPr>
            <a:cxnSpLocks/>
            <a:endCxn id="153" idx="2"/>
          </p:cNvCxnSpPr>
          <p:nvPr/>
        </p:nvCxnSpPr>
        <p:spPr>
          <a:xfrm rot="16200000" flipH="1">
            <a:off x="5092950" y="3077276"/>
            <a:ext cx="3705674" cy="1697226"/>
          </a:xfrm>
          <a:prstGeom prst="bentConnector3">
            <a:avLst>
              <a:gd name="adj1" fmla="val 106169"/>
            </a:avLst>
          </a:prstGeom>
          <a:ln w="381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09853786-8861-2C41-B176-98E164F38A6D}"/>
              </a:ext>
            </a:extLst>
          </p:cNvPr>
          <p:cNvCxnSpPr>
            <a:cxnSpLocks/>
          </p:cNvCxnSpPr>
          <p:nvPr/>
        </p:nvCxnSpPr>
        <p:spPr>
          <a:xfrm>
            <a:off x="5896600" y="2063577"/>
            <a:ext cx="212096" cy="2681"/>
          </a:xfrm>
          <a:prstGeom prst="line">
            <a:avLst/>
          </a:prstGeom>
          <a:ln w="38100">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Connector: Elbow 170">
            <a:extLst>
              <a:ext uri="{FF2B5EF4-FFF2-40B4-BE49-F238E27FC236}">
                <a16:creationId xmlns:a16="http://schemas.microsoft.com/office/drawing/2014/main" id="{79F663D4-B196-F949-B4EF-376305AC6B35}"/>
              </a:ext>
            </a:extLst>
          </p:cNvPr>
          <p:cNvCxnSpPr>
            <a:cxnSpLocks/>
            <a:stCxn id="109" idx="1"/>
            <a:endCxn id="128" idx="2"/>
          </p:cNvCxnSpPr>
          <p:nvPr/>
        </p:nvCxnSpPr>
        <p:spPr>
          <a:xfrm>
            <a:off x="5422386" y="4429598"/>
            <a:ext cx="3891017" cy="1525135"/>
          </a:xfrm>
          <a:prstGeom prst="bentConnector4">
            <a:avLst>
              <a:gd name="adj1" fmla="val 6038"/>
              <a:gd name="adj2" fmla="val 114989"/>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3" name="Picture 162">
            <a:extLst>
              <a:ext uri="{FF2B5EF4-FFF2-40B4-BE49-F238E27FC236}">
                <a16:creationId xmlns:a16="http://schemas.microsoft.com/office/drawing/2014/main" id="{BD52056E-F545-E743-B926-F4F1FAA57D4D}"/>
              </a:ext>
            </a:extLst>
          </p:cNvPr>
          <p:cNvPicPr>
            <a:picLocks noChangeAspect="1"/>
          </p:cNvPicPr>
          <p:nvPr/>
        </p:nvPicPr>
        <p:blipFill>
          <a:blip r:embed="rId13"/>
          <a:stretch>
            <a:fillRect/>
          </a:stretch>
        </p:blipFill>
        <p:spPr>
          <a:xfrm>
            <a:off x="6622808" y="1673135"/>
            <a:ext cx="389191" cy="389191"/>
          </a:xfrm>
          <a:prstGeom prst="rect">
            <a:avLst/>
          </a:prstGeom>
        </p:spPr>
      </p:pic>
      <p:pic>
        <p:nvPicPr>
          <p:cNvPr id="164" name="Picture 163">
            <a:extLst>
              <a:ext uri="{FF2B5EF4-FFF2-40B4-BE49-F238E27FC236}">
                <a16:creationId xmlns:a16="http://schemas.microsoft.com/office/drawing/2014/main" id="{A55D1721-0FDE-F748-9C0C-2C1717CD2660}"/>
              </a:ext>
            </a:extLst>
          </p:cNvPr>
          <p:cNvPicPr>
            <a:picLocks noChangeAspect="1"/>
          </p:cNvPicPr>
          <p:nvPr/>
        </p:nvPicPr>
        <p:blipFill>
          <a:blip r:embed="rId13"/>
          <a:stretch>
            <a:fillRect/>
          </a:stretch>
        </p:blipFill>
        <p:spPr>
          <a:xfrm>
            <a:off x="6637848" y="4642511"/>
            <a:ext cx="389191" cy="389191"/>
          </a:xfrm>
          <a:prstGeom prst="rect">
            <a:avLst/>
          </a:prstGeom>
        </p:spPr>
      </p:pic>
      <p:cxnSp>
        <p:nvCxnSpPr>
          <p:cNvPr id="165" name="Connector: Elbow 177">
            <a:extLst>
              <a:ext uri="{FF2B5EF4-FFF2-40B4-BE49-F238E27FC236}">
                <a16:creationId xmlns:a16="http://schemas.microsoft.com/office/drawing/2014/main" id="{91917817-EEC9-3549-8FB3-B7C18E4A1E7B}"/>
              </a:ext>
            </a:extLst>
          </p:cNvPr>
          <p:cNvCxnSpPr>
            <a:cxnSpLocks/>
            <a:stCxn id="128" idx="0"/>
            <a:endCxn id="127" idx="2"/>
          </p:cNvCxnSpPr>
          <p:nvPr/>
        </p:nvCxnSpPr>
        <p:spPr>
          <a:xfrm rot="5400000" flipH="1" flipV="1">
            <a:off x="9151795" y="5479279"/>
            <a:ext cx="325208" cy="1992"/>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A9E8A546-CE13-9C4C-999E-9E1E0E5A0707}"/>
              </a:ext>
            </a:extLst>
          </p:cNvPr>
          <p:cNvSpPr txBox="1"/>
          <p:nvPr/>
        </p:nvSpPr>
        <p:spPr>
          <a:xfrm rot="16200000">
            <a:off x="5673610" y="1943215"/>
            <a:ext cx="2323124" cy="276999"/>
          </a:xfrm>
          <a:prstGeom prst="rect">
            <a:avLst/>
          </a:prstGeom>
          <a:noFill/>
        </p:spPr>
        <p:txBody>
          <a:bodyPr wrap="square" rtlCol="0">
            <a:spAutoFit/>
          </a:bodyPr>
          <a:lstStyle/>
          <a:p>
            <a:r>
              <a:rPr lang="en-US" sz="1200" b="1" dirty="0">
                <a:solidFill>
                  <a:schemeClr val="accent4"/>
                </a:solidFill>
              </a:rPr>
              <a:t>HADOOP</a:t>
            </a:r>
          </a:p>
        </p:txBody>
      </p:sp>
      <p:sp>
        <p:nvSpPr>
          <p:cNvPr id="167" name="TextBox 166">
            <a:extLst>
              <a:ext uri="{FF2B5EF4-FFF2-40B4-BE49-F238E27FC236}">
                <a16:creationId xmlns:a16="http://schemas.microsoft.com/office/drawing/2014/main" id="{C587174D-DC66-2844-9A46-6465E297743B}"/>
              </a:ext>
            </a:extLst>
          </p:cNvPr>
          <p:cNvSpPr txBox="1"/>
          <p:nvPr/>
        </p:nvSpPr>
        <p:spPr>
          <a:xfrm rot="16200000">
            <a:off x="5655841" y="4480466"/>
            <a:ext cx="2323124" cy="276999"/>
          </a:xfrm>
          <a:prstGeom prst="rect">
            <a:avLst/>
          </a:prstGeom>
          <a:noFill/>
        </p:spPr>
        <p:txBody>
          <a:bodyPr wrap="square" rtlCol="0">
            <a:spAutoFit/>
          </a:bodyPr>
          <a:lstStyle/>
          <a:p>
            <a:r>
              <a:rPr lang="en-US" sz="1200" b="1" dirty="0">
                <a:solidFill>
                  <a:schemeClr val="accent4"/>
                </a:solidFill>
              </a:rPr>
              <a:t>HADOOP</a:t>
            </a:r>
          </a:p>
        </p:txBody>
      </p:sp>
      <p:cxnSp>
        <p:nvCxnSpPr>
          <p:cNvPr id="168" name="Straight Connector 167">
            <a:extLst>
              <a:ext uri="{FF2B5EF4-FFF2-40B4-BE49-F238E27FC236}">
                <a16:creationId xmlns:a16="http://schemas.microsoft.com/office/drawing/2014/main" id="{4645D9CE-A849-9C40-B9EC-97C3073F9052}"/>
              </a:ext>
            </a:extLst>
          </p:cNvPr>
          <p:cNvCxnSpPr>
            <a:cxnSpLocks/>
          </p:cNvCxnSpPr>
          <p:nvPr/>
        </p:nvCxnSpPr>
        <p:spPr>
          <a:xfrm flipV="1">
            <a:off x="11168009" y="4453848"/>
            <a:ext cx="0" cy="2120734"/>
          </a:xfrm>
          <a:prstGeom prst="line">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57E780A4-55FA-0248-B52C-2221D4F30085}"/>
              </a:ext>
            </a:extLst>
          </p:cNvPr>
          <p:cNvSpPr txBox="1"/>
          <p:nvPr/>
        </p:nvSpPr>
        <p:spPr>
          <a:xfrm>
            <a:off x="4519220" y="1037871"/>
            <a:ext cx="1780794" cy="215444"/>
          </a:xfrm>
          <a:prstGeom prst="rect">
            <a:avLst/>
          </a:prstGeom>
          <a:noFill/>
        </p:spPr>
        <p:txBody>
          <a:bodyPr wrap="square" rtlCol="0">
            <a:spAutoFit/>
          </a:bodyPr>
          <a:lstStyle/>
          <a:p>
            <a:r>
              <a:rPr lang="en-US" sz="800" dirty="0">
                <a:solidFill>
                  <a:schemeClr val="tx1">
                    <a:lumMod val="50000"/>
                    <a:lumOff val="50000"/>
                  </a:schemeClr>
                </a:solidFill>
              </a:rPr>
              <a:t>Optional</a:t>
            </a:r>
          </a:p>
        </p:txBody>
      </p:sp>
      <p:sp>
        <p:nvSpPr>
          <p:cNvPr id="171" name="TextBox 170">
            <a:extLst>
              <a:ext uri="{FF2B5EF4-FFF2-40B4-BE49-F238E27FC236}">
                <a16:creationId xmlns:a16="http://schemas.microsoft.com/office/drawing/2014/main" id="{15DFBCD9-A90F-F141-BC22-4DA7CF08851F}"/>
              </a:ext>
            </a:extLst>
          </p:cNvPr>
          <p:cNvSpPr txBox="1"/>
          <p:nvPr/>
        </p:nvSpPr>
        <p:spPr>
          <a:xfrm>
            <a:off x="2596009" y="4499155"/>
            <a:ext cx="1440999" cy="438582"/>
          </a:xfrm>
          <a:prstGeom prst="rect">
            <a:avLst/>
          </a:prstGeom>
          <a:noFill/>
        </p:spPr>
        <p:txBody>
          <a:bodyPr wrap="square" rtlCol="0">
            <a:spAutoFit/>
          </a:bodyPr>
          <a:lstStyle/>
          <a:p>
            <a:pPr algn="ctr"/>
            <a:r>
              <a:rPr lang="en-US" sz="1200" dirty="0">
                <a:solidFill>
                  <a:srgbClr val="BA141A"/>
                </a:solidFill>
              </a:rPr>
              <a:t>Access ONLY from </a:t>
            </a:r>
            <a:r>
              <a:rPr lang="en-US" sz="1050" dirty="0">
                <a:solidFill>
                  <a:srgbClr val="BA141A"/>
                </a:solidFill>
              </a:rPr>
              <a:t>on-premise network</a:t>
            </a:r>
            <a:endParaRPr lang="en-US" sz="1200" dirty="0">
              <a:solidFill>
                <a:srgbClr val="BA141A"/>
              </a:solidFill>
            </a:endParaRPr>
          </a:p>
        </p:txBody>
      </p:sp>
      <p:sp>
        <p:nvSpPr>
          <p:cNvPr id="172" name="TextBox 171">
            <a:extLst>
              <a:ext uri="{FF2B5EF4-FFF2-40B4-BE49-F238E27FC236}">
                <a16:creationId xmlns:a16="http://schemas.microsoft.com/office/drawing/2014/main" id="{4454BB66-F084-3B4E-8F40-5B244F620797}"/>
              </a:ext>
            </a:extLst>
          </p:cNvPr>
          <p:cNvSpPr txBox="1"/>
          <p:nvPr/>
        </p:nvSpPr>
        <p:spPr>
          <a:xfrm>
            <a:off x="6749298" y="5538336"/>
            <a:ext cx="1440999" cy="430887"/>
          </a:xfrm>
          <a:prstGeom prst="rect">
            <a:avLst/>
          </a:prstGeom>
          <a:noFill/>
        </p:spPr>
        <p:txBody>
          <a:bodyPr wrap="square" rtlCol="0">
            <a:spAutoFit/>
          </a:bodyPr>
          <a:lstStyle/>
          <a:p>
            <a:pPr algn="ctr"/>
            <a:r>
              <a:rPr lang="en-US" sz="1050" dirty="0">
                <a:solidFill>
                  <a:srgbClr val="BA141A"/>
                </a:solidFill>
              </a:rPr>
              <a:t>Access ONLY from jump box</a:t>
            </a:r>
          </a:p>
        </p:txBody>
      </p:sp>
      <p:sp>
        <p:nvSpPr>
          <p:cNvPr id="173" name="TextBox 172">
            <a:extLst>
              <a:ext uri="{FF2B5EF4-FFF2-40B4-BE49-F238E27FC236}">
                <a16:creationId xmlns:a16="http://schemas.microsoft.com/office/drawing/2014/main" id="{3778722D-5063-4D44-92AB-B7DF4D8569D1}"/>
              </a:ext>
            </a:extLst>
          </p:cNvPr>
          <p:cNvSpPr txBox="1"/>
          <p:nvPr/>
        </p:nvSpPr>
        <p:spPr>
          <a:xfrm>
            <a:off x="6597792" y="4093109"/>
            <a:ext cx="2066910" cy="461665"/>
          </a:xfrm>
          <a:prstGeom prst="rect">
            <a:avLst/>
          </a:prstGeom>
          <a:noFill/>
        </p:spPr>
        <p:txBody>
          <a:bodyPr wrap="square" rtlCol="0">
            <a:spAutoFit/>
          </a:bodyPr>
          <a:lstStyle/>
          <a:p>
            <a:pPr algn="ctr"/>
            <a:r>
              <a:rPr lang="en-US" sz="1200" dirty="0">
                <a:solidFill>
                  <a:srgbClr val="BA141A"/>
                </a:solidFill>
              </a:rPr>
              <a:t>No developer SSH access*</a:t>
            </a:r>
            <a:br>
              <a:rPr lang="en-US" sz="1200" dirty="0">
                <a:solidFill>
                  <a:srgbClr val="BA141A"/>
                </a:solidFill>
              </a:rPr>
            </a:br>
            <a:endParaRPr lang="en-US" sz="1200" dirty="0">
              <a:solidFill>
                <a:srgbClr val="BA141A"/>
              </a:solidFill>
            </a:endParaRPr>
          </a:p>
        </p:txBody>
      </p:sp>
      <p:sp>
        <p:nvSpPr>
          <p:cNvPr id="174" name="TextBox 173">
            <a:extLst>
              <a:ext uri="{FF2B5EF4-FFF2-40B4-BE49-F238E27FC236}">
                <a16:creationId xmlns:a16="http://schemas.microsoft.com/office/drawing/2014/main" id="{55150BA4-D0C8-3344-B68A-CBA2AA5A9125}"/>
              </a:ext>
            </a:extLst>
          </p:cNvPr>
          <p:cNvSpPr txBox="1"/>
          <p:nvPr/>
        </p:nvSpPr>
        <p:spPr>
          <a:xfrm>
            <a:off x="6563050" y="3165676"/>
            <a:ext cx="2149489" cy="461665"/>
          </a:xfrm>
          <a:prstGeom prst="rect">
            <a:avLst/>
          </a:prstGeom>
          <a:noFill/>
        </p:spPr>
        <p:txBody>
          <a:bodyPr wrap="square" rtlCol="0">
            <a:spAutoFit/>
          </a:bodyPr>
          <a:lstStyle/>
          <a:p>
            <a:pPr algn="ctr"/>
            <a:r>
              <a:rPr lang="en-US" sz="1200" dirty="0">
                <a:solidFill>
                  <a:srgbClr val="BA141A"/>
                </a:solidFill>
              </a:rPr>
              <a:t>No developer SSH access*</a:t>
            </a:r>
            <a:br>
              <a:rPr lang="en-US" sz="1200" dirty="0">
                <a:solidFill>
                  <a:srgbClr val="BA141A"/>
                </a:solidFill>
              </a:rPr>
            </a:br>
            <a:endParaRPr lang="en-US" sz="1200" dirty="0">
              <a:solidFill>
                <a:srgbClr val="BA141A"/>
              </a:solidFill>
            </a:endParaRPr>
          </a:p>
        </p:txBody>
      </p:sp>
      <p:sp>
        <p:nvSpPr>
          <p:cNvPr id="175" name="TextBox 174">
            <a:extLst>
              <a:ext uri="{FF2B5EF4-FFF2-40B4-BE49-F238E27FC236}">
                <a16:creationId xmlns:a16="http://schemas.microsoft.com/office/drawing/2014/main" id="{7533784B-481F-DF48-AE38-F5F3E319E7D2}"/>
              </a:ext>
            </a:extLst>
          </p:cNvPr>
          <p:cNvSpPr txBox="1"/>
          <p:nvPr/>
        </p:nvSpPr>
        <p:spPr>
          <a:xfrm>
            <a:off x="6584875" y="2291175"/>
            <a:ext cx="2105838" cy="461665"/>
          </a:xfrm>
          <a:prstGeom prst="rect">
            <a:avLst/>
          </a:prstGeom>
          <a:noFill/>
        </p:spPr>
        <p:txBody>
          <a:bodyPr wrap="square" rtlCol="0">
            <a:spAutoFit/>
          </a:bodyPr>
          <a:lstStyle/>
          <a:p>
            <a:pPr algn="ctr"/>
            <a:r>
              <a:rPr lang="en-US" sz="1200" dirty="0">
                <a:solidFill>
                  <a:srgbClr val="BA141A"/>
                </a:solidFill>
              </a:rPr>
              <a:t>No developer SSH access*</a:t>
            </a:r>
            <a:br>
              <a:rPr lang="en-US" sz="1200" dirty="0">
                <a:solidFill>
                  <a:srgbClr val="BA141A"/>
                </a:solidFill>
              </a:rPr>
            </a:br>
            <a:endParaRPr lang="en-US" sz="1200" dirty="0">
              <a:solidFill>
                <a:srgbClr val="BA141A"/>
              </a:solidFill>
            </a:endParaRPr>
          </a:p>
        </p:txBody>
      </p:sp>
      <p:sp>
        <p:nvSpPr>
          <p:cNvPr id="176" name="TextBox 175">
            <a:extLst>
              <a:ext uri="{FF2B5EF4-FFF2-40B4-BE49-F238E27FC236}">
                <a16:creationId xmlns:a16="http://schemas.microsoft.com/office/drawing/2014/main" id="{FF9CB605-5607-D244-A6CB-901E9D4CFC79}"/>
              </a:ext>
            </a:extLst>
          </p:cNvPr>
          <p:cNvSpPr txBox="1"/>
          <p:nvPr/>
        </p:nvSpPr>
        <p:spPr>
          <a:xfrm>
            <a:off x="8765287" y="6545990"/>
            <a:ext cx="5497838" cy="276999"/>
          </a:xfrm>
          <a:prstGeom prst="rect">
            <a:avLst/>
          </a:prstGeom>
          <a:noFill/>
        </p:spPr>
        <p:txBody>
          <a:bodyPr wrap="square" rtlCol="0">
            <a:spAutoFit/>
          </a:bodyPr>
          <a:lstStyle/>
          <a:p>
            <a:r>
              <a:rPr lang="en-US" sz="1200" i="1" dirty="0">
                <a:solidFill>
                  <a:srgbClr val="BA141A"/>
                </a:solidFill>
              </a:rPr>
              <a:t>*SSH access only for Hadoop/system administrators</a:t>
            </a:r>
          </a:p>
        </p:txBody>
      </p:sp>
      <p:sp>
        <p:nvSpPr>
          <p:cNvPr id="178" name="TextBox 177">
            <a:extLst>
              <a:ext uri="{FF2B5EF4-FFF2-40B4-BE49-F238E27FC236}">
                <a16:creationId xmlns:a16="http://schemas.microsoft.com/office/drawing/2014/main" id="{62569804-6AB0-E644-9493-D54122992A0B}"/>
              </a:ext>
            </a:extLst>
          </p:cNvPr>
          <p:cNvSpPr txBox="1"/>
          <p:nvPr/>
        </p:nvSpPr>
        <p:spPr>
          <a:xfrm>
            <a:off x="6673556" y="5980309"/>
            <a:ext cx="2612084" cy="261610"/>
          </a:xfrm>
          <a:prstGeom prst="rect">
            <a:avLst/>
          </a:prstGeom>
          <a:noFill/>
        </p:spPr>
        <p:txBody>
          <a:bodyPr wrap="square" rtlCol="0">
            <a:spAutoFit/>
          </a:bodyPr>
          <a:lstStyle/>
          <a:p>
            <a:r>
              <a:rPr lang="en-US" sz="1100" dirty="0">
                <a:solidFill>
                  <a:srgbClr val="BA141A"/>
                </a:solidFill>
              </a:rPr>
              <a:t>SSH tunneling to access Hadoop URLs</a:t>
            </a:r>
          </a:p>
        </p:txBody>
      </p:sp>
      <p:sp>
        <p:nvSpPr>
          <p:cNvPr id="179" name="TextBox 178">
            <a:extLst>
              <a:ext uri="{FF2B5EF4-FFF2-40B4-BE49-F238E27FC236}">
                <a16:creationId xmlns:a16="http://schemas.microsoft.com/office/drawing/2014/main" id="{35E01528-C8AD-A844-B6DF-3ECEC723D9BA}"/>
              </a:ext>
            </a:extLst>
          </p:cNvPr>
          <p:cNvSpPr txBox="1"/>
          <p:nvPr/>
        </p:nvSpPr>
        <p:spPr>
          <a:xfrm>
            <a:off x="10239564" y="5016424"/>
            <a:ext cx="856286" cy="261610"/>
          </a:xfrm>
          <a:prstGeom prst="rect">
            <a:avLst/>
          </a:prstGeom>
          <a:noFill/>
        </p:spPr>
        <p:txBody>
          <a:bodyPr wrap="square" rtlCol="0">
            <a:spAutoFit/>
          </a:bodyPr>
          <a:lstStyle/>
          <a:p>
            <a:r>
              <a:rPr lang="en-US" sz="1050" dirty="0">
                <a:solidFill>
                  <a:srgbClr val="BA141A"/>
                </a:solidFill>
              </a:rPr>
              <a:t>[https]</a:t>
            </a:r>
            <a:endParaRPr lang="en-US" dirty="0">
              <a:solidFill>
                <a:srgbClr val="BA141A"/>
              </a:solidFill>
            </a:endParaRPr>
          </a:p>
        </p:txBody>
      </p:sp>
      <p:sp>
        <p:nvSpPr>
          <p:cNvPr id="180" name="TextBox 179">
            <a:extLst>
              <a:ext uri="{FF2B5EF4-FFF2-40B4-BE49-F238E27FC236}">
                <a16:creationId xmlns:a16="http://schemas.microsoft.com/office/drawing/2014/main" id="{F7395632-8E06-1F4B-BB5D-FE12703676C5}"/>
              </a:ext>
            </a:extLst>
          </p:cNvPr>
          <p:cNvSpPr txBox="1"/>
          <p:nvPr/>
        </p:nvSpPr>
        <p:spPr>
          <a:xfrm>
            <a:off x="7545447" y="37450"/>
            <a:ext cx="1763174" cy="276999"/>
          </a:xfrm>
          <a:prstGeom prst="rect">
            <a:avLst/>
          </a:prstGeom>
          <a:noFill/>
        </p:spPr>
        <p:txBody>
          <a:bodyPr wrap="square" rtlCol="0">
            <a:spAutoFit/>
          </a:bodyPr>
          <a:lstStyle/>
          <a:p>
            <a:pPr algn="ctr"/>
            <a:r>
              <a:rPr lang="en-US" sz="1200" dirty="0">
                <a:solidFill>
                  <a:srgbClr val="BA141A"/>
                </a:solidFill>
              </a:rPr>
              <a:t>No access (configurable)</a:t>
            </a:r>
          </a:p>
        </p:txBody>
      </p:sp>
      <p:sp>
        <p:nvSpPr>
          <p:cNvPr id="181" name="TextBox 180">
            <a:extLst>
              <a:ext uri="{FF2B5EF4-FFF2-40B4-BE49-F238E27FC236}">
                <a16:creationId xmlns:a16="http://schemas.microsoft.com/office/drawing/2014/main" id="{857DA111-89C1-FD4A-B44A-EA2F1071BD1F}"/>
              </a:ext>
            </a:extLst>
          </p:cNvPr>
          <p:cNvSpPr txBox="1"/>
          <p:nvPr/>
        </p:nvSpPr>
        <p:spPr>
          <a:xfrm>
            <a:off x="2916980" y="1495823"/>
            <a:ext cx="1458900" cy="600164"/>
          </a:xfrm>
          <a:prstGeom prst="rect">
            <a:avLst/>
          </a:prstGeom>
          <a:noFill/>
        </p:spPr>
        <p:txBody>
          <a:bodyPr wrap="square" rtlCol="0">
            <a:spAutoFit/>
          </a:bodyPr>
          <a:lstStyle/>
          <a:p>
            <a:r>
              <a:rPr lang="en-US" sz="1100" dirty="0">
                <a:solidFill>
                  <a:srgbClr val="BA141A"/>
                </a:solidFill>
              </a:rPr>
              <a:t>Central point of SSH access to cluster, from within vnet</a:t>
            </a:r>
          </a:p>
        </p:txBody>
      </p:sp>
      <p:sp>
        <p:nvSpPr>
          <p:cNvPr id="182" name="TextBox 181">
            <a:extLst>
              <a:ext uri="{FF2B5EF4-FFF2-40B4-BE49-F238E27FC236}">
                <a16:creationId xmlns:a16="http://schemas.microsoft.com/office/drawing/2014/main" id="{4FC9539F-B06B-284B-9A03-C4DE89EB83E2}"/>
              </a:ext>
            </a:extLst>
          </p:cNvPr>
          <p:cNvSpPr txBox="1"/>
          <p:nvPr/>
        </p:nvSpPr>
        <p:spPr>
          <a:xfrm>
            <a:off x="2641368" y="3106948"/>
            <a:ext cx="1268538" cy="517065"/>
          </a:xfrm>
          <a:prstGeom prst="rect">
            <a:avLst/>
          </a:prstGeom>
          <a:noFill/>
        </p:spPr>
        <p:txBody>
          <a:bodyPr wrap="square" lIns="182880" tIns="146304" rIns="182880" bIns="146304" rtlCol="0">
            <a:spAutoFit/>
          </a:bodyPr>
          <a:lstStyle/>
          <a:p>
            <a:pPr>
              <a:lnSpc>
                <a:spcPct val="90000"/>
              </a:lnSpc>
              <a:spcAft>
                <a:spcPts val="600"/>
              </a:spcAft>
            </a:pPr>
            <a:r>
              <a:rPr lang="en-US" sz="800" dirty="0">
                <a:gradFill>
                  <a:gsLst>
                    <a:gs pos="2917">
                      <a:schemeClr val="tx1"/>
                    </a:gs>
                    <a:gs pos="30000">
                      <a:schemeClr val="tx1"/>
                    </a:gs>
                  </a:gsLst>
                  <a:lin ang="5400000" scaled="0"/>
                </a:gradFill>
              </a:rPr>
              <a:t>ExpressRoute private peering to </a:t>
            </a:r>
            <a:r>
              <a:rPr lang="en-US" sz="800" dirty="0" err="1">
                <a:gradFill>
                  <a:gsLst>
                    <a:gs pos="2917">
                      <a:schemeClr val="tx1"/>
                    </a:gs>
                    <a:gs pos="30000">
                      <a:schemeClr val="tx1"/>
                    </a:gs>
                  </a:gsLst>
                  <a:lin ang="5400000" scaled="0"/>
                </a:gradFill>
              </a:rPr>
              <a:t>Vnet</a:t>
            </a:r>
            <a:endParaRPr lang="en-US" sz="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29981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021C16FF-EB1F-457F-8EF6-881530B1E121}"/>
              </a:ext>
            </a:extLst>
          </p:cNvPr>
          <p:cNvSpPr/>
          <p:nvPr/>
        </p:nvSpPr>
        <p:spPr>
          <a:xfrm>
            <a:off x="641249" y="1577316"/>
            <a:ext cx="4937006" cy="4937006"/>
          </a:xfrm>
          <a:prstGeom prst="ellipse">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4" name="Oval 3">
            <a:extLst>
              <a:ext uri="{FF2B5EF4-FFF2-40B4-BE49-F238E27FC236}">
                <a16:creationId xmlns:a16="http://schemas.microsoft.com/office/drawing/2014/main" id="{0FBB8E83-569B-46DB-98C1-362149667E2B}"/>
              </a:ext>
            </a:extLst>
          </p:cNvPr>
          <p:cNvSpPr/>
          <p:nvPr/>
        </p:nvSpPr>
        <p:spPr>
          <a:xfrm>
            <a:off x="1006953" y="1943021"/>
            <a:ext cx="4205597" cy="4205597"/>
          </a:xfrm>
          <a:prstGeom prst="ellipse">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5" name="Oval 4">
            <a:extLst>
              <a:ext uri="{FF2B5EF4-FFF2-40B4-BE49-F238E27FC236}">
                <a16:creationId xmlns:a16="http://schemas.microsoft.com/office/drawing/2014/main" id="{46423762-F722-48DA-82A0-BB6ED05936AE}"/>
              </a:ext>
            </a:extLst>
          </p:cNvPr>
          <p:cNvSpPr/>
          <p:nvPr/>
        </p:nvSpPr>
        <p:spPr>
          <a:xfrm>
            <a:off x="1357420" y="2293487"/>
            <a:ext cx="3504663" cy="3504663"/>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6" name="Oval 5">
            <a:extLst>
              <a:ext uri="{FF2B5EF4-FFF2-40B4-BE49-F238E27FC236}">
                <a16:creationId xmlns:a16="http://schemas.microsoft.com/office/drawing/2014/main" id="{1F0A0EE4-52C5-4238-9B6A-C9E8BF7890BB}"/>
              </a:ext>
            </a:extLst>
          </p:cNvPr>
          <p:cNvSpPr/>
          <p:nvPr/>
        </p:nvSpPr>
        <p:spPr>
          <a:xfrm>
            <a:off x="1624082" y="2560148"/>
            <a:ext cx="2971343" cy="2971343"/>
          </a:xfrm>
          <a:prstGeom prst="ellipse">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7" name="Oval 6">
            <a:extLst>
              <a:ext uri="{FF2B5EF4-FFF2-40B4-BE49-F238E27FC236}">
                <a16:creationId xmlns:a16="http://schemas.microsoft.com/office/drawing/2014/main" id="{03BC7A09-FFA8-49BF-B3DB-B3CBC5D45568}"/>
              </a:ext>
            </a:extLst>
          </p:cNvPr>
          <p:cNvSpPr/>
          <p:nvPr/>
        </p:nvSpPr>
        <p:spPr>
          <a:xfrm>
            <a:off x="1940262" y="2876328"/>
            <a:ext cx="2338980" cy="2338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8" name="Rectangle 7">
            <a:extLst>
              <a:ext uri="{FF2B5EF4-FFF2-40B4-BE49-F238E27FC236}">
                <a16:creationId xmlns:a16="http://schemas.microsoft.com/office/drawing/2014/main" id="{B1C78083-C397-429D-8AC6-7F3AB18DFAAA}"/>
              </a:ext>
            </a:extLst>
          </p:cNvPr>
          <p:cNvSpPr/>
          <p:nvPr/>
        </p:nvSpPr>
        <p:spPr>
          <a:xfrm>
            <a:off x="5761108" y="1227396"/>
            <a:ext cx="274279" cy="2138274"/>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9" name="Rectangle 8">
            <a:extLst>
              <a:ext uri="{FF2B5EF4-FFF2-40B4-BE49-F238E27FC236}">
                <a16:creationId xmlns:a16="http://schemas.microsoft.com/office/drawing/2014/main" id="{8BD03B3E-1268-433B-A1B6-B251258A784E}"/>
              </a:ext>
            </a:extLst>
          </p:cNvPr>
          <p:cNvSpPr/>
          <p:nvPr/>
        </p:nvSpPr>
        <p:spPr>
          <a:xfrm>
            <a:off x="6766793" y="2286018"/>
            <a:ext cx="274279" cy="1253277"/>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10" name="Rectangle 9">
            <a:extLst>
              <a:ext uri="{FF2B5EF4-FFF2-40B4-BE49-F238E27FC236}">
                <a16:creationId xmlns:a16="http://schemas.microsoft.com/office/drawing/2014/main" id="{ED9D6A35-9806-4891-A237-0BAD1C8D2B32}"/>
              </a:ext>
            </a:extLst>
          </p:cNvPr>
          <p:cNvSpPr/>
          <p:nvPr/>
        </p:nvSpPr>
        <p:spPr>
          <a:xfrm>
            <a:off x="9235297" y="2507360"/>
            <a:ext cx="274279" cy="140030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11" name="Rectangle 10">
            <a:extLst>
              <a:ext uri="{FF2B5EF4-FFF2-40B4-BE49-F238E27FC236}">
                <a16:creationId xmlns:a16="http://schemas.microsoft.com/office/drawing/2014/main" id="{E93EE2A9-2E6A-44D0-A0C2-D77CA4BC4404}"/>
              </a:ext>
            </a:extLst>
          </p:cNvPr>
          <p:cNvSpPr/>
          <p:nvPr/>
        </p:nvSpPr>
        <p:spPr>
          <a:xfrm>
            <a:off x="7678871" y="4159394"/>
            <a:ext cx="274279" cy="1182172"/>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12" name="Rectangle 11">
            <a:extLst>
              <a:ext uri="{FF2B5EF4-FFF2-40B4-BE49-F238E27FC236}">
                <a16:creationId xmlns:a16="http://schemas.microsoft.com/office/drawing/2014/main" id="{C26305FF-EFB6-4658-84AA-A9451E820D0A}"/>
              </a:ext>
            </a:extLst>
          </p:cNvPr>
          <p:cNvSpPr/>
          <p:nvPr/>
        </p:nvSpPr>
        <p:spPr>
          <a:xfrm>
            <a:off x="6058242" y="1164337"/>
            <a:ext cx="5408126" cy="959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4" fontAlgn="auto">
              <a:spcBef>
                <a:spcPts val="0"/>
              </a:spcBef>
              <a:spcAft>
                <a:spcPts val="0"/>
              </a:spcAft>
              <a:defRPr/>
            </a:pPr>
            <a:r>
              <a:rPr lang="en-US" sz="1399" b="1" kern="0" dirty="0">
                <a:solidFill>
                  <a:srgbClr val="EA6658"/>
                </a:solidFill>
                <a:latin typeface="Segoe UI" panose="020B0502040204020203" pitchFamily="34" charset="0"/>
                <a:cs typeface="Segoe UI" panose="020B0502040204020203" pitchFamily="34" charset="0"/>
              </a:rPr>
              <a:t>PERIMETER</a:t>
            </a:r>
          </a:p>
          <a:p>
            <a:pPr defTabSz="914224" fontAlgn="auto">
              <a:spcBef>
                <a:spcPts val="0"/>
              </a:spcBef>
              <a:spcAft>
                <a:spcPts val="0"/>
              </a:spcAft>
              <a:defRPr/>
            </a:pPr>
            <a:r>
              <a:rPr lang="en-US" sz="1377" kern="0" dirty="0">
                <a:solidFill>
                  <a:srgbClr val="002050"/>
                </a:solidFill>
                <a:latin typeface="Segoe UI" panose="020B0502040204020203" pitchFamily="34" charset="0"/>
                <a:cs typeface="Segoe UI" panose="020B0502040204020203" pitchFamily="34" charset="0"/>
              </a:rPr>
              <a:t>Isolate clusters within VNETs</a:t>
            </a:r>
          </a:p>
          <a:p>
            <a:pPr defTabSz="914224" fontAlgn="auto">
              <a:spcBef>
                <a:spcPts val="0"/>
              </a:spcBef>
              <a:spcAft>
                <a:spcPts val="0"/>
              </a:spcAft>
              <a:defRPr/>
            </a:pPr>
            <a:r>
              <a:rPr lang="en-US" sz="1377" kern="0" dirty="0">
                <a:solidFill>
                  <a:srgbClr val="002050"/>
                </a:solidFill>
                <a:latin typeface="Segoe UI" panose="020B0502040204020203" pitchFamily="34" charset="0"/>
                <a:cs typeface="Segoe UI" panose="020B0502040204020203" pitchFamily="34" charset="0"/>
              </a:rPr>
              <a:t>Leverage network security groups as needed</a:t>
            </a:r>
          </a:p>
          <a:p>
            <a:pPr defTabSz="914224" fontAlgn="auto">
              <a:spcBef>
                <a:spcPts val="0"/>
              </a:spcBef>
              <a:spcAft>
                <a:spcPts val="0"/>
              </a:spcAft>
              <a:defRPr/>
            </a:pPr>
            <a:r>
              <a:rPr lang="en-US" sz="1399" kern="0" dirty="0">
                <a:solidFill>
                  <a:srgbClr val="002050"/>
                </a:solidFill>
                <a:latin typeface="Segoe UI" panose="020B0502040204020203" pitchFamily="34" charset="0"/>
                <a:cs typeface="Segoe UI" panose="020B0502040204020203" pitchFamily="34" charset="0"/>
              </a:rPr>
              <a:t>Restrict outbound traffic using NVAs*</a:t>
            </a:r>
          </a:p>
        </p:txBody>
      </p:sp>
      <p:sp>
        <p:nvSpPr>
          <p:cNvPr id="13" name="Rectangle 12">
            <a:extLst>
              <a:ext uri="{FF2B5EF4-FFF2-40B4-BE49-F238E27FC236}">
                <a16:creationId xmlns:a16="http://schemas.microsoft.com/office/drawing/2014/main" id="{11FFC8B6-8D7B-424F-93F8-A9E24EA9FCBE}"/>
              </a:ext>
            </a:extLst>
          </p:cNvPr>
          <p:cNvSpPr/>
          <p:nvPr/>
        </p:nvSpPr>
        <p:spPr>
          <a:xfrm>
            <a:off x="7036014" y="2267079"/>
            <a:ext cx="2079942" cy="984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4" fontAlgn="auto">
              <a:spcBef>
                <a:spcPts val="0"/>
              </a:spcBef>
              <a:spcAft>
                <a:spcPts val="0"/>
              </a:spcAft>
              <a:defRPr/>
            </a:pPr>
            <a:r>
              <a:rPr lang="en-US" sz="1399" b="1" kern="0" dirty="0">
                <a:solidFill>
                  <a:srgbClr val="FF8C00"/>
                </a:solidFill>
                <a:latin typeface="Segoe UI" panose="020B0502040204020203" pitchFamily="34" charset="0"/>
                <a:cs typeface="Segoe UI" panose="020B0502040204020203" pitchFamily="34" charset="0"/>
              </a:rPr>
              <a:t>AUTHENTICATION</a:t>
            </a:r>
          </a:p>
          <a:p>
            <a:pPr defTabSz="914224" fontAlgn="auto">
              <a:spcBef>
                <a:spcPts val="0"/>
              </a:spcBef>
              <a:spcAft>
                <a:spcPts val="0"/>
              </a:spcAft>
              <a:defRPr/>
            </a:pPr>
            <a:r>
              <a:rPr lang="en-US" sz="1399" kern="0" dirty="0">
                <a:solidFill>
                  <a:srgbClr val="002050"/>
                </a:solidFill>
                <a:latin typeface="Segoe UI" panose="020B0502040204020203" pitchFamily="34" charset="0"/>
                <a:cs typeface="Segoe UI" panose="020B0502040204020203" pitchFamily="34" charset="0"/>
              </a:rPr>
              <a:t>Kerberos with Azure Active Directory Domain Services</a:t>
            </a:r>
          </a:p>
          <a:p>
            <a:pPr defTabSz="914224" fontAlgn="auto">
              <a:spcBef>
                <a:spcPts val="0"/>
              </a:spcBef>
              <a:spcAft>
                <a:spcPts val="0"/>
              </a:spcAft>
              <a:defRPr/>
            </a:pPr>
            <a:endParaRPr lang="en-US" sz="1399" kern="0" dirty="0">
              <a:solidFill>
                <a:prstClr val="white"/>
              </a:solidFill>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8ECDF68F-C5B5-4318-AFB5-D951DB7D99C4}"/>
              </a:ext>
            </a:extLst>
          </p:cNvPr>
          <p:cNvSpPr/>
          <p:nvPr/>
        </p:nvSpPr>
        <p:spPr>
          <a:xfrm>
            <a:off x="9509575" y="2482241"/>
            <a:ext cx="2884960" cy="1422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4" fontAlgn="auto">
              <a:spcBef>
                <a:spcPts val="0"/>
              </a:spcBef>
              <a:spcAft>
                <a:spcPts val="0"/>
              </a:spcAft>
              <a:defRPr/>
            </a:pPr>
            <a:r>
              <a:rPr lang="en-US" sz="1399" b="1" kern="0" dirty="0">
                <a:solidFill>
                  <a:srgbClr val="D83B01"/>
                </a:solidFill>
                <a:latin typeface="Segoe UI" panose="020B0502040204020203" pitchFamily="34" charset="0"/>
                <a:cs typeface="Segoe UI" panose="020B0502040204020203" pitchFamily="34" charset="0"/>
              </a:rPr>
              <a:t>AUTHORIZATION</a:t>
            </a:r>
          </a:p>
          <a:p>
            <a:pPr defTabSz="914224" fontAlgn="auto">
              <a:spcBef>
                <a:spcPts val="0"/>
              </a:spcBef>
              <a:spcAft>
                <a:spcPts val="0"/>
              </a:spcAft>
              <a:defRPr/>
            </a:pPr>
            <a:r>
              <a:rPr lang="en-US" sz="1399" kern="0" dirty="0">
                <a:solidFill>
                  <a:srgbClr val="002050"/>
                </a:solidFill>
                <a:latin typeface="Segoe UI" panose="020B0502040204020203" pitchFamily="34" charset="0"/>
                <a:cs typeface="Segoe UI" panose="020B0502040204020203" pitchFamily="34" charset="0"/>
              </a:rPr>
              <a:t>Apache Ranger for fine grained</a:t>
            </a:r>
            <a:br>
              <a:rPr lang="en-US" sz="1399" kern="0" dirty="0">
                <a:solidFill>
                  <a:srgbClr val="002050"/>
                </a:solidFill>
                <a:latin typeface="Segoe UI" panose="020B0502040204020203" pitchFamily="34" charset="0"/>
                <a:cs typeface="Segoe UI" panose="020B0502040204020203" pitchFamily="34" charset="0"/>
              </a:rPr>
            </a:br>
            <a:r>
              <a:rPr lang="en-US" sz="1399" kern="0" dirty="0">
                <a:solidFill>
                  <a:srgbClr val="002050"/>
                </a:solidFill>
                <a:latin typeface="Segoe UI" panose="020B0502040204020203" pitchFamily="34" charset="0"/>
                <a:cs typeface="Segoe UI" panose="020B0502040204020203" pitchFamily="34" charset="0"/>
              </a:rPr>
              <a:t>RBAC</a:t>
            </a:r>
          </a:p>
        </p:txBody>
      </p:sp>
      <p:sp>
        <p:nvSpPr>
          <p:cNvPr id="15" name="Rectangle 14">
            <a:extLst>
              <a:ext uri="{FF2B5EF4-FFF2-40B4-BE49-F238E27FC236}">
                <a16:creationId xmlns:a16="http://schemas.microsoft.com/office/drawing/2014/main" id="{8AF46D20-ACC6-49FC-9D07-49D83EAB5BE7}"/>
              </a:ext>
            </a:extLst>
          </p:cNvPr>
          <p:cNvSpPr/>
          <p:nvPr/>
        </p:nvSpPr>
        <p:spPr>
          <a:xfrm>
            <a:off x="7955332" y="4605299"/>
            <a:ext cx="3975782" cy="825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4" fontAlgn="auto">
              <a:spcBef>
                <a:spcPts val="0"/>
              </a:spcBef>
              <a:spcAft>
                <a:spcPts val="0"/>
              </a:spcAft>
              <a:defRPr/>
            </a:pPr>
            <a:r>
              <a:rPr lang="en-US" sz="1399" b="1" kern="0">
                <a:solidFill>
                  <a:srgbClr val="F56598"/>
                </a:solidFill>
                <a:latin typeface="Segoe UI" panose="020B0502040204020203" pitchFamily="34" charset="0"/>
                <a:cs typeface="Segoe UI" panose="020B0502040204020203" pitchFamily="34" charset="0"/>
              </a:rPr>
              <a:t>DATA PROTECTION</a:t>
            </a:r>
          </a:p>
          <a:p>
            <a:pPr defTabSz="914224" fontAlgn="auto">
              <a:spcBef>
                <a:spcPts val="0"/>
              </a:spcBef>
              <a:spcAft>
                <a:spcPts val="0"/>
              </a:spcAft>
              <a:defRPr/>
            </a:pPr>
            <a:r>
              <a:rPr lang="en-US" sz="1399" kern="0">
                <a:solidFill>
                  <a:srgbClr val="002050"/>
                </a:solidFill>
                <a:latin typeface="Segoe UI" panose="020B0502040204020203" pitchFamily="34" charset="0"/>
                <a:cs typeface="Segoe UI" panose="020B0502040204020203" pitchFamily="34" charset="0"/>
              </a:rPr>
              <a:t>Encryption on-the-wire with HTTPS enforced</a:t>
            </a:r>
          </a:p>
          <a:p>
            <a:pPr defTabSz="914224" fontAlgn="auto">
              <a:spcBef>
                <a:spcPts val="0"/>
              </a:spcBef>
              <a:spcAft>
                <a:spcPts val="0"/>
              </a:spcAft>
              <a:defRPr/>
            </a:pPr>
            <a:r>
              <a:rPr lang="en-US" sz="1399" kern="0">
                <a:solidFill>
                  <a:srgbClr val="002050"/>
                </a:solidFill>
                <a:latin typeface="Segoe UI" panose="020B0502040204020203" pitchFamily="34" charset="0"/>
                <a:cs typeface="Segoe UI" panose="020B0502040204020203" pitchFamily="34" charset="0"/>
              </a:rPr>
              <a:t>Encryption at Rest using Azure Key Vault</a:t>
            </a:r>
          </a:p>
        </p:txBody>
      </p:sp>
      <p:sp>
        <p:nvSpPr>
          <p:cNvPr id="16" name="Rectangle 15">
            <a:extLst>
              <a:ext uri="{FF2B5EF4-FFF2-40B4-BE49-F238E27FC236}">
                <a16:creationId xmlns:a16="http://schemas.microsoft.com/office/drawing/2014/main" id="{AD9B042E-BD2F-4DD8-A60A-32A3277E464F}"/>
              </a:ext>
            </a:extLst>
          </p:cNvPr>
          <p:cNvSpPr/>
          <p:nvPr/>
        </p:nvSpPr>
        <p:spPr>
          <a:xfrm>
            <a:off x="5264990" y="3111975"/>
            <a:ext cx="762498" cy="104742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17" name="Rectangle 16">
            <a:extLst>
              <a:ext uri="{FF2B5EF4-FFF2-40B4-BE49-F238E27FC236}">
                <a16:creationId xmlns:a16="http://schemas.microsoft.com/office/drawing/2014/main" id="{B22AAD42-A796-4FEE-845A-1EA81AA3377B}"/>
              </a:ext>
            </a:extLst>
          </p:cNvPr>
          <p:cNvSpPr/>
          <p:nvPr/>
        </p:nvSpPr>
        <p:spPr>
          <a:xfrm>
            <a:off x="5006842" y="3365669"/>
            <a:ext cx="2034229" cy="793727"/>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pPr>
            <a:endParaRPr lang="en-US" sz="1800" kern="0">
              <a:solidFill>
                <a:sysClr val="windowText" lastClr="000000"/>
              </a:solidFill>
              <a:latin typeface="Segoe UI"/>
            </a:endParaRPr>
          </a:p>
        </p:txBody>
      </p:sp>
      <p:sp>
        <p:nvSpPr>
          <p:cNvPr id="18" name="Rectangle 17">
            <a:extLst>
              <a:ext uri="{FF2B5EF4-FFF2-40B4-BE49-F238E27FC236}">
                <a16:creationId xmlns:a16="http://schemas.microsoft.com/office/drawing/2014/main" id="{04685A51-B0A6-441E-8AF2-A457E4FF8647}"/>
              </a:ext>
            </a:extLst>
          </p:cNvPr>
          <p:cNvSpPr/>
          <p:nvPr/>
        </p:nvSpPr>
        <p:spPr>
          <a:xfrm>
            <a:off x="4732566" y="3653099"/>
            <a:ext cx="4685582" cy="251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19" name="Rectangle 18">
            <a:extLst>
              <a:ext uri="{FF2B5EF4-FFF2-40B4-BE49-F238E27FC236}">
                <a16:creationId xmlns:a16="http://schemas.microsoft.com/office/drawing/2014/main" id="{0F67043A-6255-4A3C-8061-BF5ABCF5A8F4}"/>
              </a:ext>
            </a:extLst>
          </p:cNvPr>
          <p:cNvSpPr/>
          <p:nvPr/>
        </p:nvSpPr>
        <p:spPr>
          <a:xfrm>
            <a:off x="4549714" y="3896626"/>
            <a:ext cx="3405619" cy="275034"/>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fontAlgn="auto">
              <a:spcBef>
                <a:spcPts val="0"/>
              </a:spcBef>
              <a:spcAft>
                <a:spcPts val="0"/>
              </a:spcAft>
              <a:defRPr/>
            </a:pPr>
            <a:endParaRPr lang="en-US" sz="1800" kern="0">
              <a:solidFill>
                <a:sysClr val="windowText" lastClr="000000"/>
              </a:solidFill>
              <a:latin typeface="Segoe UI"/>
            </a:endParaRPr>
          </a:p>
        </p:txBody>
      </p:sp>
      <p:sp>
        <p:nvSpPr>
          <p:cNvPr id="20" name="Rectangle 19">
            <a:extLst>
              <a:ext uri="{FF2B5EF4-FFF2-40B4-BE49-F238E27FC236}">
                <a16:creationId xmlns:a16="http://schemas.microsoft.com/office/drawing/2014/main" id="{1C6957BB-2220-4C0C-AEC7-B0E335EBC254}"/>
              </a:ext>
            </a:extLst>
          </p:cNvPr>
          <p:cNvSpPr/>
          <p:nvPr/>
        </p:nvSpPr>
        <p:spPr>
          <a:xfrm>
            <a:off x="6766793" y="6309970"/>
            <a:ext cx="5479874" cy="473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63" fontAlgn="auto">
              <a:spcBef>
                <a:spcPts val="0"/>
              </a:spcBef>
              <a:spcAft>
                <a:spcPts val="0"/>
              </a:spcAft>
            </a:pPr>
            <a:r>
              <a:rPr lang="en-US" sz="1600">
                <a:solidFill>
                  <a:srgbClr val="002050"/>
                </a:solidFill>
                <a:latin typeface="Segoe UI"/>
              </a:rPr>
              <a:t>Auditing of all data operations and configuration changes</a:t>
            </a:r>
          </a:p>
        </p:txBody>
      </p:sp>
      <p:grpSp>
        <p:nvGrpSpPr>
          <p:cNvPr id="22" name="Group 21">
            <a:extLst>
              <a:ext uri="{FF2B5EF4-FFF2-40B4-BE49-F238E27FC236}">
                <a16:creationId xmlns:a16="http://schemas.microsoft.com/office/drawing/2014/main" id="{E65F9DCB-A67A-4FFC-AEFE-A0167C4AABB8}"/>
              </a:ext>
            </a:extLst>
          </p:cNvPr>
          <p:cNvGrpSpPr>
            <a:grpSpLocks noChangeAspect="1"/>
          </p:cNvGrpSpPr>
          <p:nvPr/>
        </p:nvGrpSpPr>
        <p:grpSpPr>
          <a:xfrm>
            <a:off x="2449098" y="3490397"/>
            <a:ext cx="1310272" cy="971278"/>
            <a:chOff x="1358900" y="3878263"/>
            <a:chExt cx="1638300" cy="1214438"/>
          </a:xfrm>
        </p:grpSpPr>
        <p:sp>
          <p:nvSpPr>
            <p:cNvPr id="23" name="Freeform 41">
              <a:extLst>
                <a:ext uri="{FF2B5EF4-FFF2-40B4-BE49-F238E27FC236}">
                  <a16:creationId xmlns:a16="http://schemas.microsoft.com/office/drawing/2014/main" id="{4348779D-C88A-4E6B-9BE1-279512E6F98B}"/>
                </a:ext>
              </a:extLst>
            </p:cNvPr>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2">
              <a:extLst>
                <a:ext uri="{FF2B5EF4-FFF2-40B4-BE49-F238E27FC236}">
                  <a16:creationId xmlns:a16="http://schemas.microsoft.com/office/drawing/2014/main" id="{2B1EE3BF-2617-4E4E-8A47-8511CC1B9080}"/>
                </a:ext>
              </a:extLst>
            </p:cNvPr>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3">
              <a:extLst>
                <a:ext uri="{FF2B5EF4-FFF2-40B4-BE49-F238E27FC236}">
                  <a16:creationId xmlns:a16="http://schemas.microsoft.com/office/drawing/2014/main" id="{256C74A1-A283-4305-BE98-64EE8E200192}"/>
                </a:ext>
              </a:extLst>
            </p:cNvPr>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4">
              <a:extLst>
                <a:ext uri="{FF2B5EF4-FFF2-40B4-BE49-F238E27FC236}">
                  <a16:creationId xmlns:a16="http://schemas.microsoft.com/office/drawing/2014/main" id="{B46E8759-015E-4A06-B21A-6DA9BAE52C8B}"/>
                </a:ext>
              </a:extLst>
            </p:cNvPr>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5">
              <a:extLst>
                <a:ext uri="{FF2B5EF4-FFF2-40B4-BE49-F238E27FC236}">
                  <a16:creationId xmlns:a16="http://schemas.microsoft.com/office/drawing/2014/main" id="{1CB86FF0-D956-4530-8477-BD7ED0D27A64}"/>
                </a:ext>
              </a:extLst>
            </p:cNvPr>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8" name="Graphic 27">
            <a:extLst>
              <a:ext uri="{FF2B5EF4-FFF2-40B4-BE49-F238E27FC236}">
                <a16:creationId xmlns:a16="http://schemas.microsoft.com/office/drawing/2014/main" id="{EF86929F-E4BC-DE4C-A1C4-7DE4534DED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0866" y="93990"/>
            <a:ext cx="1149532" cy="1149532"/>
          </a:xfrm>
          <a:prstGeom prst="rect">
            <a:avLst/>
          </a:prstGeom>
        </p:spPr>
      </p:pic>
      <p:sp>
        <p:nvSpPr>
          <p:cNvPr id="29" name="Title 5">
            <a:extLst>
              <a:ext uri="{FF2B5EF4-FFF2-40B4-BE49-F238E27FC236}">
                <a16:creationId xmlns:a16="http://schemas.microsoft.com/office/drawing/2014/main" id="{90D2D47A-BF3B-5C45-8000-380FB4802778}"/>
              </a:ext>
            </a:extLst>
          </p:cNvPr>
          <p:cNvSpPr txBox="1">
            <a:spLocks/>
          </p:cNvSpPr>
          <p:nvPr/>
        </p:nvSpPr>
        <p:spPr>
          <a:xfrm>
            <a:off x="2087577" y="343857"/>
            <a:ext cx="9769708"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a:t>Security</a:t>
            </a:r>
            <a:endParaRPr lang="en-US" b="1" dirty="0">
              <a:solidFill>
                <a:schemeClr val="tx1"/>
              </a:solidFill>
            </a:endParaRPr>
          </a:p>
        </p:txBody>
      </p:sp>
      <p:pic>
        <p:nvPicPr>
          <p:cNvPr id="30" name="Picture 29">
            <a:extLst>
              <a:ext uri="{FF2B5EF4-FFF2-40B4-BE49-F238E27FC236}">
                <a16:creationId xmlns:a16="http://schemas.microsoft.com/office/drawing/2014/main" id="{66A0AB4E-452F-1A42-A80E-D99FAB753DB6}"/>
              </a:ext>
            </a:extLst>
          </p:cNvPr>
          <p:cNvPicPr>
            <a:picLocks noChangeAspect="1"/>
          </p:cNvPicPr>
          <p:nvPr/>
        </p:nvPicPr>
        <p:blipFill>
          <a:blip r:embed="rId5"/>
          <a:stretch>
            <a:fillRect/>
          </a:stretch>
        </p:blipFill>
        <p:spPr>
          <a:xfrm>
            <a:off x="1300398" y="75122"/>
            <a:ext cx="749300" cy="1168400"/>
          </a:xfrm>
          <a:prstGeom prst="rect">
            <a:avLst/>
          </a:prstGeom>
        </p:spPr>
      </p:pic>
    </p:spTree>
    <p:extLst>
      <p:ext uri="{BB962C8B-B14F-4D97-AF65-F5344CB8AC3E}">
        <p14:creationId xmlns:p14="http://schemas.microsoft.com/office/powerpoint/2010/main" val="214720988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8D2A4D-418B-2A47-BE41-7BA86680D2BD}"/>
              </a:ext>
            </a:extLst>
          </p:cNvPr>
          <p:cNvPicPr>
            <a:picLocks noChangeAspect="1"/>
          </p:cNvPicPr>
          <p:nvPr/>
        </p:nvPicPr>
        <p:blipFill>
          <a:blip r:embed="rId2"/>
          <a:stretch>
            <a:fillRect/>
          </a:stretch>
        </p:blipFill>
        <p:spPr>
          <a:xfrm>
            <a:off x="729343" y="1388188"/>
            <a:ext cx="9375420" cy="5328298"/>
          </a:xfrm>
          <a:prstGeom prst="rect">
            <a:avLst/>
          </a:prstGeom>
        </p:spPr>
      </p:pic>
      <p:pic>
        <p:nvPicPr>
          <p:cNvPr id="4" name="Graphic 3">
            <a:extLst>
              <a:ext uri="{FF2B5EF4-FFF2-40B4-BE49-F238E27FC236}">
                <a16:creationId xmlns:a16="http://schemas.microsoft.com/office/drawing/2014/main" id="{F7E732AE-C4E2-7F4E-863C-A1AC1C8676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4577" y="141514"/>
            <a:ext cx="1149532" cy="1149532"/>
          </a:xfrm>
          <a:prstGeom prst="rect">
            <a:avLst/>
          </a:prstGeom>
        </p:spPr>
      </p:pic>
      <p:sp>
        <p:nvSpPr>
          <p:cNvPr id="5" name="Title 5">
            <a:extLst>
              <a:ext uri="{FF2B5EF4-FFF2-40B4-BE49-F238E27FC236}">
                <a16:creationId xmlns:a16="http://schemas.microsoft.com/office/drawing/2014/main" id="{604FF440-62FF-DC4C-B8A4-EC26B8DEA63F}"/>
              </a:ext>
            </a:extLst>
          </p:cNvPr>
          <p:cNvSpPr txBox="1">
            <a:spLocks/>
          </p:cNvSpPr>
          <p:nvPr/>
        </p:nvSpPr>
        <p:spPr>
          <a:xfrm>
            <a:off x="2091288" y="391381"/>
            <a:ext cx="9769708"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dirty="0"/>
              <a:t>Security – Authentication</a:t>
            </a:r>
            <a:endParaRPr lang="en-US" b="1" dirty="0">
              <a:solidFill>
                <a:schemeClr val="tx1"/>
              </a:solidFill>
            </a:endParaRPr>
          </a:p>
        </p:txBody>
      </p:sp>
      <p:pic>
        <p:nvPicPr>
          <p:cNvPr id="6" name="Picture 5">
            <a:extLst>
              <a:ext uri="{FF2B5EF4-FFF2-40B4-BE49-F238E27FC236}">
                <a16:creationId xmlns:a16="http://schemas.microsoft.com/office/drawing/2014/main" id="{578FF435-2E04-2045-87CD-DE98912EA069}"/>
              </a:ext>
            </a:extLst>
          </p:cNvPr>
          <p:cNvPicPr>
            <a:picLocks noChangeAspect="1"/>
          </p:cNvPicPr>
          <p:nvPr/>
        </p:nvPicPr>
        <p:blipFill>
          <a:blip r:embed="rId5"/>
          <a:stretch>
            <a:fillRect/>
          </a:stretch>
        </p:blipFill>
        <p:spPr>
          <a:xfrm>
            <a:off x="1304109" y="122646"/>
            <a:ext cx="749300" cy="1168400"/>
          </a:xfrm>
          <a:prstGeom prst="rect">
            <a:avLst/>
          </a:prstGeom>
        </p:spPr>
      </p:pic>
    </p:spTree>
    <p:extLst>
      <p:ext uri="{BB962C8B-B14F-4D97-AF65-F5344CB8AC3E}">
        <p14:creationId xmlns:p14="http://schemas.microsoft.com/office/powerpoint/2010/main" val="25767720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p:txBody>
          <a:bodyPr/>
          <a:lstStyle/>
          <a:p>
            <a:r>
              <a:rPr lang="en-US" dirty="0"/>
              <a:t>Kafka on Azure</a:t>
            </a:r>
          </a:p>
        </p:txBody>
      </p:sp>
      <p:sp>
        <p:nvSpPr>
          <p:cNvPr id="2" name="TextBox 1">
            <a:extLst>
              <a:ext uri="{FF2B5EF4-FFF2-40B4-BE49-F238E27FC236}">
                <a16:creationId xmlns:a16="http://schemas.microsoft.com/office/drawing/2014/main" id="{5C4577B6-6168-6646-A059-EC9F095A7641}"/>
              </a:ext>
            </a:extLst>
          </p:cNvPr>
          <p:cNvSpPr txBox="1"/>
          <p:nvPr/>
        </p:nvSpPr>
        <p:spPr>
          <a:xfrm>
            <a:off x="269237" y="3690256"/>
            <a:ext cx="10580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ptions</a:t>
            </a:r>
          </a:p>
        </p:txBody>
      </p:sp>
    </p:spTree>
    <p:extLst>
      <p:ext uri="{BB962C8B-B14F-4D97-AF65-F5344CB8AC3E}">
        <p14:creationId xmlns:p14="http://schemas.microsoft.com/office/powerpoint/2010/main" val="27177108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ecurity – Authorization with Ranger</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pic>
        <p:nvPicPr>
          <p:cNvPr id="5" name="Picture 4">
            <a:extLst>
              <a:ext uri="{FF2B5EF4-FFF2-40B4-BE49-F238E27FC236}">
                <a16:creationId xmlns:a16="http://schemas.microsoft.com/office/drawing/2014/main" id="{C1514B71-DC27-4B46-9DCB-06ED5D70FBD0}"/>
              </a:ext>
            </a:extLst>
          </p:cNvPr>
          <p:cNvPicPr>
            <a:picLocks noChangeAspect="1"/>
          </p:cNvPicPr>
          <p:nvPr/>
        </p:nvPicPr>
        <p:blipFill>
          <a:blip r:embed="rId5"/>
          <a:stretch>
            <a:fillRect/>
          </a:stretch>
        </p:blipFill>
        <p:spPr>
          <a:xfrm>
            <a:off x="510283" y="1719943"/>
            <a:ext cx="10277460" cy="2461515"/>
          </a:xfrm>
          <a:prstGeom prst="rect">
            <a:avLst/>
          </a:prstGeom>
        </p:spPr>
      </p:pic>
    </p:spTree>
    <p:extLst>
      <p:ext uri="{BB962C8B-B14F-4D97-AF65-F5344CB8AC3E}">
        <p14:creationId xmlns:p14="http://schemas.microsoft.com/office/powerpoint/2010/main" val="35640816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ecurity – Authorization with Ranger</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pic>
        <p:nvPicPr>
          <p:cNvPr id="2" name="Picture 1">
            <a:extLst>
              <a:ext uri="{FF2B5EF4-FFF2-40B4-BE49-F238E27FC236}">
                <a16:creationId xmlns:a16="http://schemas.microsoft.com/office/drawing/2014/main" id="{79392E4C-60D4-194C-ABFF-3A7941FABA26}"/>
              </a:ext>
            </a:extLst>
          </p:cNvPr>
          <p:cNvPicPr>
            <a:picLocks noChangeAspect="1"/>
          </p:cNvPicPr>
          <p:nvPr/>
        </p:nvPicPr>
        <p:blipFill>
          <a:blip r:embed="rId5"/>
          <a:stretch>
            <a:fillRect/>
          </a:stretch>
        </p:blipFill>
        <p:spPr>
          <a:xfrm>
            <a:off x="296153" y="1393370"/>
            <a:ext cx="10959676" cy="2845431"/>
          </a:xfrm>
          <a:prstGeom prst="rect">
            <a:avLst/>
          </a:prstGeom>
        </p:spPr>
      </p:pic>
    </p:spTree>
    <p:extLst>
      <p:ext uri="{BB962C8B-B14F-4D97-AF65-F5344CB8AC3E}">
        <p14:creationId xmlns:p14="http://schemas.microsoft.com/office/powerpoint/2010/main" val="85603283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ecurity – Authorization with Ranger</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pic>
        <p:nvPicPr>
          <p:cNvPr id="3" name="Picture 2">
            <a:extLst>
              <a:ext uri="{FF2B5EF4-FFF2-40B4-BE49-F238E27FC236}">
                <a16:creationId xmlns:a16="http://schemas.microsoft.com/office/drawing/2014/main" id="{F4CC47B8-C3B9-9C48-AB7E-955C7BA57C50}"/>
              </a:ext>
            </a:extLst>
          </p:cNvPr>
          <p:cNvPicPr>
            <a:picLocks noChangeAspect="1"/>
          </p:cNvPicPr>
          <p:nvPr/>
        </p:nvPicPr>
        <p:blipFill>
          <a:blip r:embed="rId5"/>
          <a:stretch>
            <a:fillRect/>
          </a:stretch>
        </p:blipFill>
        <p:spPr>
          <a:xfrm>
            <a:off x="620486" y="1351944"/>
            <a:ext cx="10221686" cy="4687563"/>
          </a:xfrm>
          <a:prstGeom prst="rect">
            <a:avLst/>
          </a:prstGeom>
        </p:spPr>
      </p:pic>
    </p:spTree>
    <p:extLst>
      <p:ext uri="{BB962C8B-B14F-4D97-AF65-F5344CB8AC3E}">
        <p14:creationId xmlns:p14="http://schemas.microsoft.com/office/powerpoint/2010/main" val="3909000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ecurity – Encryption</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2" name="TextBox 1">
            <a:extLst>
              <a:ext uri="{FF2B5EF4-FFF2-40B4-BE49-F238E27FC236}">
                <a16:creationId xmlns:a16="http://schemas.microsoft.com/office/drawing/2014/main" id="{E4A38AC0-FE4B-1046-9C12-489AA097BC85}"/>
              </a:ext>
            </a:extLst>
          </p:cNvPr>
          <p:cNvSpPr txBox="1"/>
          <p:nvPr/>
        </p:nvSpPr>
        <p:spPr>
          <a:xfrm>
            <a:off x="500743" y="1338943"/>
            <a:ext cx="11223171" cy="5343001"/>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t rest:</a:t>
            </a: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Storage account is secured with SSE with AES 256 bit encryption, Microsoft managed keys in Azure Key Vault with annual key rotation on Microsoft schedule</a:t>
            </a:r>
          </a:p>
          <a:p>
            <a:pPr marL="800100" lvl="1"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Want further security and control?</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Azure disk encryption can be leveraged with BYOK support, secured by Azure Key Vault.  Note: Every additional layer of encryption impacts performance.</a:t>
            </a:r>
          </a:p>
          <a:p>
            <a:pPr marL="800100" lvl="1" indent="-342900">
              <a:lnSpc>
                <a:spcPct val="90000"/>
              </a:lnSpc>
              <a:spcAft>
                <a:spcPts val="600"/>
              </a:spcAft>
              <a:buFont typeface="Wingdings" pitchFamily="2" charset="2"/>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In transit:</a:t>
            </a:r>
          </a:p>
          <a:p>
            <a:pPr marL="800100" lvl="1"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Not TLS secured out of the box, requires the same diligence you would with an 	IaaS Kafka cluster</a:t>
            </a:r>
          </a:p>
          <a:p>
            <a:pPr marL="800100" lvl="1"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On the roadmap</a:t>
            </a:r>
          </a:p>
          <a:p>
            <a:pPr marL="800100" lvl="1"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DIY: </a:t>
            </a:r>
            <a:r>
              <a:rPr lang="en-US" sz="2400" dirty="0">
                <a:gradFill>
                  <a:gsLst>
                    <a:gs pos="2917">
                      <a:schemeClr val="tx1"/>
                    </a:gs>
                    <a:gs pos="30000">
                      <a:schemeClr val="tx1"/>
                    </a:gs>
                  </a:gsLst>
                  <a:lin ang="5400000" scaled="0"/>
                </a:gradFill>
                <a:hlinkClick r:id="rId5"/>
              </a:rPr>
              <a:t>http://kafka.apache.org/090/documentation.html#security_ssl</a:t>
            </a:r>
            <a:endParaRPr lang="en-US" sz="2400" dirty="0">
              <a:gradFill>
                <a:gsLst>
                  <a:gs pos="2917">
                    <a:schemeClr val="tx1"/>
                  </a:gs>
                  <a:gs pos="30000">
                    <a:schemeClr val="tx1"/>
                  </a:gs>
                </a:gsLst>
                <a:lin ang="5400000" scaled="0"/>
              </a:gradFill>
            </a:endParaRPr>
          </a:p>
          <a:p>
            <a:pPr lvl="1">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929430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8061CA3-17DC-49A5-9774-473FEA2802D3}"/>
              </a:ext>
            </a:extLst>
          </p:cNvPr>
          <p:cNvSpPr txBox="1">
            <a:spLocks/>
          </p:cNvSpPr>
          <p:nvPr/>
        </p:nvSpPr>
        <p:spPr>
          <a:xfrm>
            <a:off x="273838" y="1231795"/>
            <a:ext cx="7942606" cy="4985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Bring Your Own Key</a:t>
            </a:r>
          </a:p>
        </p:txBody>
      </p:sp>
      <p:pic>
        <p:nvPicPr>
          <p:cNvPr id="7" name="Picture 6">
            <a:extLst>
              <a:ext uri="{FF2B5EF4-FFF2-40B4-BE49-F238E27FC236}">
                <a16:creationId xmlns:a16="http://schemas.microsoft.com/office/drawing/2014/main" id="{182DDD47-F091-4CCD-827D-8A8C2B7EE250}"/>
              </a:ext>
            </a:extLst>
          </p:cNvPr>
          <p:cNvPicPr>
            <a:picLocks noChangeAspect="1"/>
          </p:cNvPicPr>
          <p:nvPr/>
        </p:nvPicPr>
        <p:blipFill>
          <a:blip r:embed="rId2"/>
          <a:stretch>
            <a:fillRect/>
          </a:stretch>
        </p:blipFill>
        <p:spPr>
          <a:xfrm>
            <a:off x="6354752" y="1567089"/>
            <a:ext cx="5041913" cy="4804337"/>
          </a:xfrm>
          <a:prstGeom prst="rect">
            <a:avLst/>
          </a:prstGeom>
        </p:spPr>
      </p:pic>
      <p:sp>
        <p:nvSpPr>
          <p:cNvPr id="8" name="Text Placeholder 4">
            <a:extLst>
              <a:ext uri="{FF2B5EF4-FFF2-40B4-BE49-F238E27FC236}">
                <a16:creationId xmlns:a16="http://schemas.microsoft.com/office/drawing/2014/main" id="{FC5EE377-036C-4994-99D4-754FA707ADA5}"/>
              </a:ext>
            </a:extLst>
          </p:cNvPr>
          <p:cNvSpPr txBox="1">
            <a:spLocks/>
          </p:cNvSpPr>
          <p:nvPr/>
        </p:nvSpPr>
        <p:spPr>
          <a:xfrm>
            <a:off x="273838" y="1801171"/>
            <a:ext cx="6080914" cy="465358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Default - Managed Disks are encrypted via Azure SSE (Microsoft Managed)</a:t>
            </a:r>
          </a:p>
          <a:p>
            <a:r>
              <a:rPr lang="en-US" dirty="0"/>
              <a:t>BYOK – Use Azure Key Vault to store your keys</a:t>
            </a:r>
          </a:p>
          <a:p>
            <a:r>
              <a:rPr lang="en-US" dirty="0"/>
              <a:t>User Assigned Managed Identity to access the AKV</a:t>
            </a:r>
          </a:p>
          <a:p>
            <a:r>
              <a:rPr lang="en-US" dirty="0"/>
              <a:t>Simple setup during cluster creation</a:t>
            </a:r>
          </a:p>
          <a:p>
            <a:r>
              <a:rPr lang="en-US" dirty="0"/>
              <a:t>Transparent Disk Encryption – no change in your client applications</a:t>
            </a:r>
          </a:p>
        </p:txBody>
      </p:sp>
      <p:pic>
        <p:nvPicPr>
          <p:cNvPr id="9" name="Graphic 8">
            <a:extLst>
              <a:ext uri="{FF2B5EF4-FFF2-40B4-BE49-F238E27FC236}">
                <a16:creationId xmlns:a16="http://schemas.microsoft.com/office/drawing/2014/main" id="{E70F385E-D482-A040-A6EE-7B67075EEF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804" y="39646"/>
            <a:ext cx="1149532" cy="1149532"/>
          </a:xfrm>
          <a:prstGeom prst="rect">
            <a:avLst/>
          </a:prstGeom>
        </p:spPr>
      </p:pic>
      <p:pic>
        <p:nvPicPr>
          <p:cNvPr id="10" name="Picture 9">
            <a:extLst>
              <a:ext uri="{FF2B5EF4-FFF2-40B4-BE49-F238E27FC236}">
                <a16:creationId xmlns:a16="http://schemas.microsoft.com/office/drawing/2014/main" id="{0C8DE6E2-69BE-0A47-8FAF-320E1B3DA314}"/>
              </a:ext>
            </a:extLst>
          </p:cNvPr>
          <p:cNvPicPr>
            <a:picLocks noChangeAspect="1"/>
          </p:cNvPicPr>
          <p:nvPr/>
        </p:nvPicPr>
        <p:blipFill>
          <a:blip r:embed="rId5"/>
          <a:stretch>
            <a:fillRect/>
          </a:stretch>
        </p:blipFill>
        <p:spPr>
          <a:xfrm>
            <a:off x="1324336" y="20778"/>
            <a:ext cx="749300" cy="1168400"/>
          </a:xfrm>
          <a:prstGeom prst="rect">
            <a:avLst/>
          </a:prstGeom>
        </p:spPr>
      </p:pic>
      <p:sp>
        <p:nvSpPr>
          <p:cNvPr id="11" name="Title 5">
            <a:extLst>
              <a:ext uri="{FF2B5EF4-FFF2-40B4-BE49-F238E27FC236}">
                <a16:creationId xmlns:a16="http://schemas.microsoft.com/office/drawing/2014/main" id="{36C39CDF-9C01-B84A-8FC9-986893457C72}"/>
              </a:ext>
            </a:extLst>
          </p:cNvPr>
          <p:cNvSpPr txBox="1">
            <a:spLocks/>
          </p:cNvSpPr>
          <p:nvPr/>
        </p:nvSpPr>
        <p:spPr>
          <a:xfrm>
            <a:off x="2111515" y="289513"/>
            <a:ext cx="9769708" cy="899665"/>
          </a:xfrm>
          <a:prstGeom prst="rect">
            <a:avLst/>
          </a:prstGeom>
        </p:spPr>
        <p:txBody>
          <a:bodyPr/>
          <a:lst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r>
              <a:rPr lang="en-US" dirty="0"/>
              <a:t>Security – Encryption</a:t>
            </a:r>
            <a:endParaRPr lang="en-US" b="1" dirty="0">
              <a:solidFill>
                <a:schemeClr val="tx1"/>
              </a:solidFill>
            </a:endParaRPr>
          </a:p>
        </p:txBody>
      </p:sp>
    </p:spTree>
    <p:extLst>
      <p:ext uri="{BB962C8B-B14F-4D97-AF65-F5344CB8AC3E}">
        <p14:creationId xmlns:p14="http://schemas.microsoft.com/office/powerpoint/2010/main" val="1843235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ecurity – Auditing</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pic>
        <p:nvPicPr>
          <p:cNvPr id="2" name="Picture 1">
            <a:extLst>
              <a:ext uri="{FF2B5EF4-FFF2-40B4-BE49-F238E27FC236}">
                <a16:creationId xmlns:a16="http://schemas.microsoft.com/office/drawing/2014/main" id="{4196850A-CB62-B94E-A90F-5D2D198639DC}"/>
              </a:ext>
            </a:extLst>
          </p:cNvPr>
          <p:cNvPicPr>
            <a:picLocks noChangeAspect="1"/>
          </p:cNvPicPr>
          <p:nvPr/>
        </p:nvPicPr>
        <p:blipFill>
          <a:blip r:embed="rId5"/>
          <a:stretch>
            <a:fillRect/>
          </a:stretch>
        </p:blipFill>
        <p:spPr>
          <a:xfrm>
            <a:off x="311965" y="1553346"/>
            <a:ext cx="10867664" cy="4792525"/>
          </a:xfrm>
          <a:prstGeom prst="rect">
            <a:avLst/>
          </a:prstGeom>
        </p:spPr>
      </p:pic>
      <p:sp>
        <p:nvSpPr>
          <p:cNvPr id="3" name="TextBox 2">
            <a:extLst>
              <a:ext uri="{FF2B5EF4-FFF2-40B4-BE49-F238E27FC236}">
                <a16:creationId xmlns:a16="http://schemas.microsoft.com/office/drawing/2014/main" id="{7FA7B490-E1D5-2E47-AEA5-0DE254ECEE40}"/>
              </a:ext>
            </a:extLst>
          </p:cNvPr>
          <p:cNvSpPr txBox="1"/>
          <p:nvPr/>
        </p:nvSpPr>
        <p:spPr>
          <a:xfrm>
            <a:off x="7717972" y="614412"/>
            <a:ext cx="3309257" cy="627864"/>
          </a:xfrm>
          <a:prstGeom prst="rect">
            <a:avLst/>
          </a:prstGeom>
          <a:noFill/>
          <a:effectLst>
            <a:glow rad="139700">
              <a:schemeClr val="accent1">
                <a:satMod val="175000"/>
                <a:alpha val="40000"/>
              </a:schemeClr>
            </a:glow>
          </a:effectLst>
        </p:spPr>
        <p:txBody>
          <a:bodyPr wrap="square" lIns="182880" tIns="146304" rIns="182880" bIns="146304" rtlCol="0">
            <a:spAutoFit/>
          </a:bodyPr>
          <a:lstStyle/>
          <a:p>
            <a:pPr>
              <a:lnSpc>
                <a:spcPct val="90000"/>
              </a:lnSpc>
              <a:spcAft>
                <a:spcPts val="600"/>
              </a:spcAft>
            </a:pPr>
            <a:r>
              <a:rPr lang="en-US" sz="2400" b="1" dirty="0">
                <a:solidFill>
                  <a:srgbClr val="92D050"/>
                </a:solidFill>
              </a:rPr>
              <a:t>Demo</a:t>
            </a:r>
          </a:p>
        </p:txBody>
      </p:sp>
      <p:sp>
        <p:nvSpPr>
          <p:cNvPr id="5" name="Oval 4">
            <a:extLst>
              <a:ext uri="{FF2B5EF4-FFF2-40B4-BE49-F238E27FC236}">
                <a16:creationId xmlns:a16="http://schemas.microsoft.com/office/drawing/2014/main" id="{B0FC139E-4F9C-FA43-B4AF-6BBA43601889}"/>
              </a:ext>
            </a:extLst>
          </p:cNvPr>
          <p:cNvSpPr/>
          <p:nvPr/>
        </p:nvSpPr>
        <p:spPr bwMode="auto">
          <a:xfrm>
            <a:off x="7641771" y="614412"/>
            <a:ext cx="1371600" cy="627864"/>
          </a:xfrm>
          <a:prstGeom prst="ellipse">
            <a:avLst/>
          </a:prstGeom>
          <a:noFill/>
          <a:ln w="381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796606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High availability</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10777" y="1487917"/>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anagement services and nodes:</a:t>
            </a:r>
            <a:endParaRPr lang="en-US" dirty="0"/>
          </a:p>
          <a:p>
            <a:pPr marL="457200" lvl="1" indent="0">
              <a:buNone/>
            </a:pPr>
            <a:r>
              <a:rPr lang="en-US" dirty="0"/>
              <a:t>Management/head nodes/gateway nodes are configured for high availability</a:t>
            </a:r>
            <a:br>
              <a:rPr lang="en-US" dirty="0"/>
            </a:br>
            <a:endParaRPr lang="en-US" dirty="0"/>
          </a:p>
          <a:p>
            <a:pPr marL="0" indent="0">
              <a:buNone/>
            </a:pPr>
            <a:r>
              <a:rPr lang="en-US" b="1" dirty="0"/>
              <a:t>Kafka:</a:t>
            </a:r>
          </a:p>
          <a:p>
            <a:pPr marL="457200" lvl="1" indent="0">
              <a:buNone/>
            </a:pPr>
            <a:r>
              <a:rPr lang="en-US" dirty="0"/>
              <a:t>Is a master-less architecture – and is therefore HA</a:t>
            </a:r>
            <a:br>
              <a:rPr lang="en-US" dirty="0"/>
            </a:br>
            <a:endParaRPr lang="en-US" dirty="0"/>
          </a:p>
          <a:p>
            <a:pPr marL="0" indent="0">
              <a:buNone/>
            </a:pPr>
            <a:r>
              <a:rPr lang="en-US" b="1" dirty="0"/>
              <a:t>Ranger:</a:t>
            </a:r>
          </a:p>
          <a:p>
            <a:pPr marL="457200" lvl="1" indent="0">
              <a:buNone/>
            </a:pPr>
            <a:r>
              <a:rPr lang="en-US" dirty="0"/>
              <a:t>Is configured HA</a:t>
            </a:r>
            <a:br>
              <a:rPr lang="en-US" dirty="0"/>
            </a:br>
            <a:endParaRPr lang="en-US" dirty="0"/>
          </a:p>
        </p:txBody>
      </p:sp>
    </p:spTree>
    <p:extLst>
      <p:ext uri="{BB962C8B-B14F-4D97-AF65-F5344CB8AC3E}">
        <p14:creationId xmlns:p14="http://schemas.microsoft.com/office/powerpoint/2010/main" val="131094286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High availability</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Azure storage:</a:t>
            </a:r>
          </a:p>
          <a:p>
            <a:pPr lvl="1">
              <a:buFont typeface="Wingdings" pitchFamily="2" charset="2"/>
              <a:buChar char="§"/>
            </a:pPr>
            <a:r>
              <a:rPr lang="en-US" dirty="0"/>
              <a:t>Azure storage is highly available – 3 copies of each disk are available in the same data center and are seamless served up upon failure of one</a:t>
            </a:r>
          </a:p>
          <a:p>
            <a:pPr lvl="1">
              <a:buFont typeface="Wingdings" pitchFamily="2" charset="2"/>
              <a:buChar char="§"/>
            </a:pPr>
            <a:r>
              <a:rPr lang="en-US" dirty="0"/>
              <a:t>Rebalancing tool from HDInsight helps with rebalancing across nodes/fault and update domains</a:t>
            </a:r>
            <a:br>
              <a:rPr lang="en-US" dirty="0"/>
            </a:br>
            <a:endParaRPr lang="en-US" dirty="0"/>
          </a:p>
          <a:p>
            <a:pPr marL="0" indent="0">
              <a:buNone/>
            </a:pPr>
            <a:r>
              <a:rPr lang="en-US" b="1" dirty="0"/>
              <a:t>Brokers:</a:t>
            </a:r>
          </a:p>
          <a:p>
            <a:pPr lvl="1">
              <a:buFont typeface="Wingdings" pitchFamily="2" charset="2"/>
              <a:buChar char="§"/>
            </a:pPr>
            <a:r>
              <a:rPr lang="en-US" dirty="0"/>
              <a:t>HDInsight Kafka service self-heals – replaces brokers upon failure</a:t>
            </a:r>
          </a:p>
          <a:p>
            <a:pPr lvl="1">
              <a:buFont typeface="Wingdings" pitchFamily="2" charset="2"/>
              <a:buChar char="§"/>
            </a:pPr>
            <a:r>
              <a:rPr lang="en-US" dirty="0"/>
              <a:t>Kafka framework detects and automatically remediates broker failures - with less than replication factor checks and re-replication of logs</a:t>
            </a:r>
          </a:p>
        </p:txBody>
      </p:sp>
    </p:spTree>
    <p:extLst>
      <p:ext uri="{BB962C8B-B14F-4D97-AF65-F5344CB8AC3E}">
        <p14:creationId xmlns:p14="http://schemas.microsoft.com/office/powerpoint/2010/main" val="192033852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Disaster Recovery</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Apache </a:t>
            </a:r>
            <a:r>
              <a:rPr lang="en-US" sz="2400" dirty="0" err="1"/>
              <a:t>Mirrormaker</a:t>
            </a:r>
            <a:r>
              <a:rPr lang="en-US" sz="2400" dirty="0"/>
              <a:t> is the solution for disaster recovery</a:t>
            </a:r>
          </a:p>
          <a:p>
            <a:pPr marL="0" indent="0">
              <a:buNone/>
            </a:pPr>
            <a:endParaRPr lang="en-US" sz="2400" dirty="0"/>
          </a:p>
          <a:p>
            <a:pPr marL="0" indent="0">
              <a:buNone/>
            </a:pPr>
            <a:r>
              <a:rPr lang="en-US" sz="2400" b="1" dirty="0"/>
              <a:t>Considerations:</a:t>
            </a:r>
            <a:br>
              <a:rPr lang="en-US" sz="2400" dirty="0"/>
            </a:br>
            <a:r>
              <a:rPr lang="en-US" sz="2400" dirty="0"/>
              <a:t>1.  Enable global </a:t>
            </a:r>
            <a:r>
              <a:rPr lang="en-US" sz="2400" dirty="0" err="1"/>
              <a:t>Vnet</a:t>
            </a:r>
            <a:r>
              <a:rPr lang="en-US" sz="2400" dirty="0"/>
              <a:t> peering between source and destination clusters with non-overlapping address spaces</a:t>
            </a:r>
            <a:br>
              <a:rPr lang="en-US" sz="2400" dirty="0"/>
            </a:br>
            <a:r>
              <a:rPr lang="en-US" sz="2400" dirty="0"/>
              <a:t>2.  Leverage private IPs for communication</a:t>
            </a:r>
          </a:p>
          <a:p>
            <a:pPr marL="0" indent="0">
              <a:buNone/>
            </a:pPr>
            <a:endParaRPr lang="en-US" sz="2400" dirty="0"/>
          </a:p>
          <a:p>
            <a:pPr marL="0" indent="0">
              <a:buNone/>
            </a:pPr>
            <a:r>
              <a:rPr lang="en-US" sz="2400" b="1" dirty="0"/>
              <a:t>What about Kerberos?</a:t>
            </a:r>
            <a:br>
              <a:rPr lang="en-US" sz="2400" dirty="0"/>
            </a:br>
            <a:r>
              <a:rPr lang="en-US" sz="2400" dirty="0"/>
              <a:t>Very cumbersome – establish cross realm trust and more..</a:t>
            </a:r>
            <a:br>
              <a:rPr lang="en-US" sz="2400" dirty="0"/>
            </a:br>
            <a:r>
              <a:rPr lang="en-US" sz="2400" dirty="0"/>
              <a:t>Let us know and we will help</a:t>
            </a:r>
          </a:p>
          <a:p>
            <a:pPr marL="0" indent="0">
              <a:buNone/>
            </a:pPr>
            <a:endParaRPr lang="en-US" sz="2400" dirty="0"/>
          </a:p>
          <a:p>
            <a:pPr marL="0" indent="0">
              <a:buNone/>
            </a:pPr>
            <a:endParaRPr lang="en-US" sz="2400" dirty="0"/>
          </a:p>
        </p:txBody>
      </p:sp>
    </p:spTree>
    <p:extLst>
      <p:ext uri="{BB962C8B-B14F-4D97-AF65-F5344CB8AC3E}">
        <p14:creationId xmlns:p14="http://schemas.microsoft.com/office/powerpoint/2010/main" val="34242795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Connecting from on-premise</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Configure ExpressRoute private peering into the Kafka </a:t>
            </a:r>
            <a:r>
              <a:rPr lang="en-US" sz="2400" dirty="0" err="1"/>
              <a:t>Vnet</a:t>
            </a:r>
            <a:r>
              <a:rPr lang="en-US" sz="2400" dirty="0"/>
              <a:t> to be able to connect with private IPs</a:t>
            </a:r>
          </a:p>
          <a:p>
            <a:pPr marL="0" indent="0">
              <a:buNone/>
            </a:pPr>
            <a:endParaRPr lang="en-US" sz="2400" dirty="0"/>
          </a:p>
          <a:p>
            <a:pPr marL="0" indent="0">
              <a:buNone/>
            </a:pPr>
            <a:endParaRPr lang="en-US" sz="2400" dirty="0"/>
          </a:p>
        </p:txBody>
      </p:sp>
      <p:pic>
        <p:nvPicPr>
          <p:cNvPr id="2" name="Picture 1">
            <a:extLst>
              <a:ext uri="{FF2B5EF4-FFF2-40B4-BE49-F238E27FC236}">
                <a16:creationId xmlns:a16="http://schemas.microsoft.com/office/drawing/2014/main" id="{B65365F6-95D7-704D-92E1-87828D4CF636}"/>
              </a:ext>
            </a:extLst>
          </p:cNvPr>
          <p:cNvPicPr>
            <a:picLocks noChangeAspect="1"/>
          </p:cNvPicPr>
          <p:nvPr/>
        </p:nvPicPr>
        <p:blipFill>
          <a:blip r:embed="rId5"/>
          <a:stretch>
            <a:fillRect/>
          </a:stretch>
        </p:blipFill>
        <p:spPr>
          <a:xfrm>
            <a:off x="990599" y="2018444"/>
            <a:ext cx="9318171" cy="4550043"/>
          </a:xfrm>
          <a:prstGeom prst="rect">
            <a:avLst/>
          </a:prstGeom>
        </p:spPr>
      </p:pic>
    </p:spTree>
    <p:extLst>
      <p:ext uri="{BB962C8B-B14F-4D97-AF65-F5344CB8AC3E}">
        <p14:creationId xmlns:p14="http://schemas.microsoft.com/office/powerpoint/2010/main" val="10097963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Options</a:t>
            </a:r>
          </a:p>
        </p:txBody>
      </p:sp>
      <p:sp>
        <p:nvSpPr>
          <p:cNvPr id="3" name="TextBox 2">
            <a:extLst>
              <a:ext uri="{FF2B5EF4-FFF2-40B4-BE49-F238E27FC236}">
                <a16:creationId xmlns:a16="http://schemas.microsoft.com/office/drawing/2014/main" id="{93C47260-FDAF-6D4C-A4D7-E70AC482B3E1}"/>
              </a:ext>
            </a:extLst>
          </p:cNvPr>
          <p:cNvSpPr txBox="1"/>
          <p:nvPr/>
        </p:nvSpPr>
        <p:spPr>
          <a:xfrm>
            <a:off x="266920" y="1189178"/>
            <a:ext cx="11375572" cy="4515082"/>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1. HDInsight Kafka </a:t>
            </a:r>
            <a:br>
              <a:rPr lang="en-US" sz="3200" dirty="0">
                <a:gradFill>
                  <a:gsLst>
                    <a:gs pos="2917">
                      <a:schemeClr val="tx1"/>
                    </a:gs>
                    <a:gs pos="30000">
                      <a:schemeClr val="tx1"/>
                    </a:gs>
                  </a:gsLst>
                  <a:lin ang="5400000" scaled="0"/>
                </a:gradFill>
              </a:rPr>
            </a:br>
            <a:r>
              <a:rPr lang="en-US" sz="3200" dirty="0">
                <a:gradFill>
                  <a:gsLst>
                    <a:gs pos="2917">
                      <a:schemeClr val="tx1"/>
                    </a:gs>
                    <a:gs pos="30000">
                      <a:schemeClr val="tx1"/>
                    </a:gs>
                  </a:gsLst>
                  <a:lin ang="5400000" scaled="0"/>
                </a:gradFill>
              </a:rPr>
              <a:t>Hortonworks distribution based Kafka PaaS</a:t>
            </a:r>
            <a:br>
              <a:rPr lang="en-US" sz="3200" dirty="0">
                <a:gradFill>
                  <a:gsLst>
                    <a:gs pos="2917">
                      <a:schemeClr val="tx1"/>
                    </a:gs>
                    <a:gs pos="30000">
                      <a:schemeClr val="tx1"/>
                    </a:gs>
                  </a:gsLst>
                  <a:lin ang="5400000" scaled="0"/>
                </a:gradFill>
              </a:rPr>
            </a:b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2. Confluent Enterprise</a:t>
            </a:r>
            <a:br>
              <a:rPr lang="en-US" sz="3200" dirty="0">
                <a:gradFill>
                  <a:gsLst>
                    <a:gs pos="2917">
                      <a:schemeClr val="tx1"/>
                    </a:gs>
                    <a:gs pos="30000">
                      <a:schemeClr val="tx1"/>
                    </a:gs>
                  </a:gsLst>
                  <a:lin ang="5400000" scaled="0"/>
                </a:gradFill>
              </a:rPr>
            </a:br>
            <a:r>
              <a:rPr lang="en-US" sz="3200" dirty="0">
                <a:gradFill>
                  <a:gsLst>
                    <a:gs pos="2917">
                      <a:schemeClr val="tx1"/>
                    </a:gs>
                    <a:gs pos="30000">
                      <a:schemeClr val="tx1"/>
                    </a:gs>
                  </a:gsLst>
                  <a:lin ang="5400000" scaled="0"/>
                </a:gradFill>
              </a:rPr>
              <a:t>Confluent’s IaaS marketplace offering</a:t>
            </a:r>
            <a:br>
              <a:rPr lang="en-US" sz="3200" dirty="0">
                <a:gradFill>
                  <a:gsLst>
                    <a:gs pos="2917">
                      <a:schemeClr val="tx1"/>
                    </a:gs>
                    <a:gs pos="30000">
                      <a:schemeClr val="tx1"/>
                    </a:gs>
                  </a:gsLst>
                  <a:lin ang="5400000" scaled="0"/>
                </a:gradFill>
              </a:rPr>
            </a:br>
            <a:br>
              <a:rPr lang="en-US" sz="3200" dirty="0">
                <a:gradFill>
                  <a:gsLst>
                    <a:gs pos="2917">
                      <a:schemeClr val="tx1"/>
                    </a:gs>
                    <a:gs pos="30000">
                      <a:schemeClr val="tx1"/>
                    </a:gs>
                  </a:gsLst>
                  <a:lin ang="5400000" scaled="0"/>
                </a:gradFill>
              </a:rPr>
            </a:br>
            <a:r>
              <a:rPr lang="en-US" sz="3200" dirty="0">
                <a:gradFill>
                  <a:gsLst>
                    <a:gs pos="2917">
                      <a:schemeClr val="tx1"/>
                    </a:gs>
                    <a:gs pos="30000">
                      <a:schemeClr val="tx1"/>
                    </a:gs>
                  </a:gsLst>
                  <a:lin ang="5400000" scaled="0"/>
                </a:gradFill>
              </a:rPr>
              <a:t>3. Kafka on IaaS – virtual machines, containers</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4. Kafka API for Azure Event Hub</a:t>
            </a:r>
          </a:p>
        </p:txBody>
      </p:sp>
    </p:spTree>
    <p:extLst>
      <p:ext uri="{BB962C8B-B14F-4D97-AF65-F5344CB8AC3E}">
        <p14:creationId xmlns:p14="http://schemas.microsoft.com/office/powerpoint/2010/main" val="31808533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Tuning, specific to Azure</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HDI Kafka leverages the latest and greatest of Azure infrastructure and follow best practices – leverages fault domains and update domains</a:t>
            </a:r>
          </a:p>
          <a:p>
            <a:pPr marL="0" indent="0">
              <a:buNone/>
            </a:pPr>
            <a:r>
              <a:rPr lang="en-US" sz="2000" dirty="0"/>
              <a:t>Note: We recommend using an Azure region that contains three fault domains, and using a replication factor of 3. If you must use a region that contains only two fault domains, use a replication factor of 4 to spread the replicas evenly across the two fault domains.</a:t>
            </a:r>
          </a:p>
          <a:p>
            <a:pPr marL="0" indent="0">
              <a:buNone/>
            </a:pPr>
            <a:endParaRPr lang="en-US" sz="2000" dirty="0"/>
          </a:p>
          <a:p>
            <a:pPr marL="0" indent="0">
              <a:buNone/>
            </a:pPr>
            <a:r>
              <a:rPr lang="en-US" sz="2400" dirty="0"/>
              <a:t>Kafka is not aware of fault domains. When you create a topic in Kafka, it may store all partition replicas in the same fault domain. To solve this problem, HDInsight provides the </a:t>
            </a:r>
            <a:r>
              <a:rPr lang="en-US" sz="2400" b="1" u="sng" dirty="0">
                <a:hlinkClick r:id="rId5"/>
              </a:rPr>
              <a:t>Kafka partition rebalance tool</a:t>
            </a:r>
            <a:r>
              <a:rPr lang="en-US" sz="2400" dirty="0"/>
              <a:t>. (</a:t>
            </a:r>
            <a:r>
              <a:rPr lang="en-US" sz="2400" dirty="0">
                <a:hlinkClick r:id="rId5"/>
              </a:rPr>
              <a:t>https://github.com/hdinsight/hdinsight-kafka-tools</a:t>
            </a:r>
            <a:r>
              <a:rPr lang="en-US" sz="2400" dirty="0"/>
              <a:t>)</a:t>
            </a:r>
          </a:p>
          <a:p>
            <a:pPr marL="0" indent="0">
              <a:buNone/>
            </a:pPr>
            <a:br>
              <a:rPr lang="en-US" sz="2400" dirty="0"/>
            </a:br>
            <a:r>
              <a:rPr lang="en-US" sz="2400" dirty="0"/>
              <a:t>Rebalance partition replicas for your topic at the following times:</a:t>
            </a:r>
          </a:p>
          <a:p>
            <a:pPr lvl="1"/>
            <a:r>
              <a:rPr lang="en-US" sz="2000" dirty="0"/>
              <a:t>When a new topic or partition is created</a:t>
            </a:r>
          </a:p>
          <a:p>
            <a:pPr lvl="1"/>
            <a:r>
              <a:rPr lang="en-US" sz="2000" dirty="0"/>
              <a:t>When you scale up a cluster</a:t>
            </a:r>
          </a:p>
          <a:p>
            <a:pPr marL="0" indent="0">
              <a:buNone/>
            </a:pPr>
            <a:br>
              <a:rPr lang="en-US" sz="1800" dirty="0"/>
            </a:br>
            <a:endParaRPr lang="en-US" sz="1800" dirty="0"/>
          </a:p>
        </p:txBody>
      </p:sp>
    </p:spTree>
    <p:extLst>
      <p:ext uri="{BB962C8B-B14F-4D97-AF65-F5344CB8AC3E}">
        <p14:creationId xmlns:p14="http://schemas.microsoft.com/office/powerpoint/2010/main" val="205398506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Monitoring by Microsoft</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pic>
        <p:nvPicPr>
          <p:cNvPr id="7" name="Picture 6" descr="A screenshot of a cell phone&#10;&#10;Description generated with very high confidence">
            <a:extLst>
              <a:ext uri="{FF2B5EF4-FFF2-40B4-BE49-F238E27FC236}">
                <a16:creationId xmlns:a16="http://schemas.microsoft.com/office/drawing/2014/main" id="{C06C7ABA-54EF-3E46-8326-BA3F1C2AE6A1}"/>
              </a:ext>
            </a:extLst>
          </p:cNvPr>
          <p:cNvPicPr>
            <a:picLocks noChangeAspect="1"/>
          </p:cNvPicPr>
          <p:nvPr/>
        </p:nvPicPr>
        <p:blipFill>
          <a:blip r:embed="rId5"/>
          <a:stretch>
            <a:fillRect/>
          </a:stretch>
        </p:blipFill>
        <p:spPr>
          <a:xfrm>
            <a:off x="468086" y="1463641"/>
            <a:ext cx="8263660" cy="4854899"/>
          </a:xfrm>
          <a:prstGeom prst="rect">
            <a:avLst/>
          </a:prstGeom>
        </p:spPr>
      </p:pic>
      <p:sp>
        <p:nvSpPr>
          <p:cNvPr id="2" name="TextBox 1">
            <a:extLst>
              <a:ext uri="{FF2B5EF4-FFF2-40B4-BE49-F238E27FC236}">
                <a16:creationId xmlns:a16="http://schemas.microsoft.com/office/drawing/2014/main" id="{D2D494CB-205C-DC4E-852B-D97E3F88CAB2}"/>
              </a:ext>
            </a:extLst>
          </p:cNvPr>
          <p:cNvSpPr txBox="1"/>
          <p:nvPr/>
        </p:nvSpPr>
        <p:spPr>
          <a:xfrm>
            <a:off x="9100457" y="1480457"/>
            <a:ext cx="2318657" cy="162506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n internal view of our service monitoring</a:t>
            </a:r>
          </a:p>
        </p:txBody>
      </p:sp>
    </p:spTree>
    <p:extLst>
      <p:ext uri="{BB962C8B-B14F-4D97-AF65-F5344CB8AC3E}">
        <p14:creationId xmlns:p14="http://schemas.microsoft.com/office/powerpoint/2010/main" val="285758512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Monitoring – Log Analytics</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2" name="TextBox 1">
            <a:extLst>
              <a:ext uri="{FF2B5EF4-FFF2-40B4-BE49-F238E27FC236}">
                <a16:creationId xmlns:a16="http://schemas.microsoft.com/office/drawing/2014/main" id="{D2D494CB-205C-DC4E-852B-D97E3F88CAB2}"/>
              </a:ext>
            </a:extLst>
          </p:cNvPr>
          <p:cNvSpPr txBox="1"/>
          <p:nvPr/>
        </p:nvSpPr>
        <p:spPr>
          <a:xfrm>
            <a:off x="350014" y="1302860"/>
            <a:ext cx="11363015" cy="615245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nable OMS and monitor cluster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hlinkClick r:id="rId5"/>
              </a:rPr>
              <a:t>https://docs.microsoft.com/en-us/azure/hdinsight/hdinsight-hadoop-oms-log-analytics-tutorial?toc=%2Fen-us%2Fazure%2Fhdinsight%2Fr-server%2FTOC.json&amp;bc=%2Fen-us%2Fazure%2Fbread%2Ftoc.json#enable-log-analytics-by-using-the-portal</a:t>
            </a: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Install cluster monitoring solution</a:t>
            </a:r>
          </a:p>
          <a:p>
            <a:pPr>
              <a:lnSpc>
                <a:spcPct val="90000"/>
              </a:lnSpc>
              <a:spcAft>
                <a:spcPts val="600"/>
              </a:spcAft>
            </a:pPr>
            <a:r>
              <a:rPr lang="en-US" sz="2400" dirty="0">
                <a:gradFill>
                  <a:gsLst>
                    <a:gs pos="2917">
                      <a:schemeClr val="tx1"/>
                    </a:gs>
                    <a:gs pos="30000">
                      <a:schemeClr val="tx1"/>
                    </a:gs>
                  </a:gsLst>
                  <a:lin ang="5400000" scaled="0"/>
                </a:gradFill>
                <a:hlinkClick r:id="rId6"/>
              </a:rPr>
              <a:t>https://docs.microsoft.com/en-us/azure/hdinsight/hdinsight-hadoop-oms-log-analytics-tutorial?toc=%2Fen-us%2Fazure%2Fhdinsight%2Fr-server%2FTOC.json&amp;bc=%2Fen-us%2Fazure%2Fbread%2Ftoc.json#install-hdinsight-cluster-management-solutions</a:t>
            </a: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Query log analytics to monitor cluster</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hlinkClick r:id="rId7"/>
              </a:rPr>
              <a:t>https://docs.microsoft.com/en-us/azure/hdinsight/hdinsight-hadoop-oms-log-analytics-use-queries?toc=%2Fen-us%2Fazure%2Fhdinsight%2Fr-server%2FTOC.json&amp;bc=%2Fen-us%2Fazure%2Fbread%2Ftoc.json</a:t>
            </a: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9677215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Patching</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5"/>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Default patching:</a:t>
            </a:r>
          </a:p>
          <a:p>
            <a:pPr lvl="1">
              <a:buFont typeface="Wingdings" pitchFamily="2" charset="2"/>
              <a:buChar char="§"/>
            </a:pPr>
            <a:r>
              <a:rPr lang="en-US" sz="2000" dirty="0"/>
              <a:t>A virtual machine in the cluster can only reboot for patches at most, once within a 30-day period.</a:t>
            </a:r>
          </a:p>
          <a:p>
            <a:pPr lvl="1">
              <a:buFont typeface="Wingdings" pitchFamily="2" charset="2"/>
              <a:buChar char="§"/>
            </a:pPr>
            <a:r>
              <a:rPr lang="en-US" sz="2000" dirty="0"/>
              <a:t>The reboot occurs starting at 12AM UTC.</a:t>
            </a:r>
          </a:p>
          <a:p>
            <a:pPr lvl="1">
              <a:buFont typeface="Wingdings" pitchFamily="2" charset="2"/>
              <a:buChar char="§"/>
            </a:pPr>
            <a:r>
              <a:rPr lang="en-US" sz="2000" dirty="0"/>
              <a:t>The reboot process is staggered across virtual machines in the cluster, so the cluster is still available during the reboot process.</a:t>
            </a:r>
          </a:p>
          <a:p>
            <a:pPr lvl="1">
              <a:buFont typeface="Wingdings" pitchFamily="2" charset="2"/>
              <a:buChar char="§"/>
            </a:pPr>
            <a:r>
              <a:rPr lang="en-US" sz="2000" dirty="0"/>
              <a:t>The first reboot for a newly created cluster will not happen sooner than 30 days after the cluster creation date.</a:t>
            </a:r>
            <a:br>
              <a:rPr lang="en-US" sz="2000" dirty="0"/>
            </a:br>
            <a:endParaRPr lang="en-US" dirty="0"/>
          </a:p>
          <a:p>
            <a:pPr marL="0" indent="0">
              <a:buNone/>
            </a:pPr>
            <a:r>
              <a:rPr lang="en-US" dirty="0"/>
              <a:t>Its overridable through customization:</a:t>
            </a:r>
            <a:endParaRPr lang="en-US" sz="2000" dirty="0"/>
          </a:p>
          <a:p>
            <a:pPr lvl="1">
              <a:buFont typeface="Wingdings" pitchFamily="2" charset="2"/>
              <a:buChar char="§"/>
            </a:pPr>
            <a:r>
              <a:rPr lang="en-US" sz="2000" dirty="0"/>
              <a:t>Use a script action to </a:t>
            </a:r>
            <a:br>
              <a:rPr lang="en-US" sz="2000" dirty="0"/>
            </a:br>
            <a:r>
              <a:rPr lang="en-US" sz="2000" dirty="0"/>
              <a:t>configure your schedule:</a:t>
            </a:r>
            <a:endParaRPr lang="en-US" sz="1600" dirty="0"/>
          </a:p>
          <a:p>
            <a:pPr marL="457200" lvl="1" indent="0">
              <a:buNone/>
            </a:pPr>
            <a:endParaRPr lang="en-US" sz="2000" dirty="0"/>
          </a:p>
          <a:p>
            <a:pPr marL="0" indent="0">
              <a:buNone/>
            </a:pPr>
            <a:endParaRPr lang="en-US" sz="2000" dirty="0"/>
          </a:p>
        </p:txBody>
      </p:sp>
      <p:pic>
        <p:nvPicPr>
          <p:cNvPr id="2" name="Picture 1">
            <a:extLst>
              <a:ext uri="{FF2B5EF4-FFF2-40B4-BE49-F238E27FC236}">
                <a16:creationId xmlns:a16="http://schemas.microsoft.com/office/drawing/2014/main" id="{4194E4C4-25D4-FE44-AD79-FBC10F8FA00C}"/>
              </a:ext>
            </a:extLst>
          </p:cNvPr>
          <p:cNvPicPr>
            <a:picLocks noChangeAspect="1"/>
          </p:cNvPicPr>
          <p:nvPr/>
        </p:nvPicPr>
        <p:blipFill>
          <a:blip r:embed="rId6"/>
          <a:stretch>
            <a:fillRect/>
          </a:stretch>
        </p:blipFill>
        <p:spPr>
          <a:xfrm>
            <a:off x="3665765" y="4470795"/>
            <a:ext cx="7862207" cy="2387205"/>
          </a:xfrm>
          <a:prstGeom prst="rect">
            <a:avLst/>
          </a:prstGeom>
        </p:spPr>
      </p:pic>
    </p:spTree>
    <p:extLst>
      <p:ext uri="{BB962C8B-B14F-4D97-AF65-F5344CB8AC3E}">
        <p14:creationId xmlns:p14="http://schemas.microsoft.com/office/powerpoint/2010/main" val="325441826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izing – bottlenecks are usually…</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Typical bottlenecks in Big Data Systems </a:t>
            </a:r>
          </a:p>
          <a:p>
            <a:pPr marL="896386" lvl="2" indent="-448193">
              <a:buAutoNum type="arabicPeriod"/>
            </a:pPr>
            <a:r>
              <a:rPr lang="en-US" sz="2400" dirty="0"/>
              <a:t>CPU</a:t>
            </a:r>
          </a:p>
          <a:p>
            <a:pPr marL="896386" lvl="2" indent="-448193">
              <a:buAutoNum type="arabicPeriod"/>
            </a:pPr>
            <a:r>
              <a:rPr lang="en-US" sz="2400" dirty="0"/>
              <a:t>Memory</a:t>
            </a:r>
          </a:p>
          <a:p>
            <a:pPr marL="896386" lvl="2" indent="-448193">
              <a:buAutoNum type="arabicPeriod"/>
            </a:pPr>
            <a:r>
              <a:rPr lang="en-US" sz="2400" dirty="0"/>
              <a:t>Network</a:t>
            </a:r>
          </a:p>
          <a:p>
            <a:pPr marL="896386" lvl="2" indent="-448193">
              <a:buAutoNum type="arabicPeriod"/>
            </a:pPr>
            <a:r>
              <a:rPr lang="en-US" sz="2400" dirty="0"/>
              <a:t>Disks + Storage</a:t>
            </a:r>
          </a:p>
          <a:p>
            <a:pPr lvl="2"/>
            <a:endParaRPr lang="en-US" dirty="0"/>
          </a:p>
          <a:p>
            <a:pPr marL="0" indent="0">
              <a:buNone/>
            </a:pPr>
            <a:r>
              <a:rPr lang="en-US" dirty="0"/>
              <a:t>Kafka uses Filesystem Cache, hence CPU and Memory often not a bottleneck for ingesting millions of events/sec.</a:t>
            </a:r>
            <a:br>
              <a:rPr lang="en-US" dirty="0"/>
            </a:br>
            <a:br>
              <a:rPr lang="en-US" dirty="0"/>
            </a:br>
            <a:r>
              <a:rPr lang="en-US" dirty="0"/>
              <a:t>Network and Disk often do become the bottleneck – to balance the total throughput, tradeoffs between these often need to be made</a:t>
            </a:r>
          </a:p>
        </p:txBody>
      </p:sp>
    </p:spTree>
    <p:extLst>
      <p:ext uri="{BB962C8B-B14F-4D97-AF65-F5344CB8AC3E}">
        <p14:creationId xmlns:p14="http://schemas.microsoft.com/office/powerpoint/2010/main" val="213507229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Sizing – infrastructure considerations</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anaged disks:</a:t>
            </a:r>
            <a:br>
              <a:rPr lang="en-US" b="1" dirty="0"/>
            </a:br>
            <a:r>
              <a:rPr lang="en-US" sz="2400" dirty="0"/>
              <a:t>Premium managed disks provide guaranteed throughput, but are expensive relative to standard managed disks.  Choose based on your budget and performance needs.</a:t>
            </a:r>
            <a:br>
              <a:rPr lang="en-US" sz="2400" dirty="0"/>
            </a:br>
            <a:r>
              <a:rPr lang="en-US" sz="2400" dirty="0">
                <a:hlinkClick r:id="rId5"/>
              </a:rPr>
              <a:t>https://docs.microsoft.com/en-us/azure/virtual-machines/linux/premium-storage#scalability-and-performance-targets</a:t>
            </a:r>
            <a:br>
              <a:rPr lang="en-US" sz="2400" dirty="0"/>
            </a:br>
            <a:br>
              <a:rPr lang="en-US" sz="2400" dirty="0"/>
            </a:br>
            <a:r>
              <a:rPr lang="en-US" sz="2400" dirty="0"/>
              <a:t>With premium disks – factor in max VM disk throughput and premium managed disk throughput; Attach disks that stay within VM max disk throughput limits to prevent throttling.</a:t>
            </a:r>
            <a:br>
              <a:rPr lang="en-US" sz="2400" dirty="0"/>
            </a:br>
            <a:endParaRPr lang="en-US" sz="2400" dirty="0"/>
          </a:p>
          <a:p>
            <a:pPr marL="0" indent="0">
              <a:buNone/>
            </a:pPr>
            <a:r>
              <a:rPr lang="en-US" b="1" dirty="0"/>
              <a:t>Compute: </a:t>
            </a:r>
            <a:br>
              <a:rPr lang="en-US" dirty="0"/>
            </a:br>
            <a:r>
              <a:rPr lang="en-US" sz="2400" dirty="0"/>
              <a:t>The VM SKU determines network bandwidth, disk throughput, number of disks, and TYPE of managed disks supported that can be attached, CPU and RAM.  Choose SKUs with an ’s’ in the SKU for support for premium managed disks.  Due to replication – there is a lot of east-west traffic.  Choose a SKU with sufficient network bandwidth.</a:t>
            </a:r>
            <a:br>
              <a:rPr lang="en-US" sz="2400" dirty="0"/>
            </a:br>
            <a:br>
              <a:rPr lang="en-US" sz="2400" dirty="0"/>
            </a:br>
            <a:br>
              <a:rPr lang="en-US" dirty="0"/>
            </a:br>
            <a:endParaRPr lang="en-US" dirty="0"/>
          </a:p>
          <a:p>
            <a:pPr marL="0" indent="0">
              <a:buNone/>
            </a:pPr>
            <a:endParaRPr lang="en-US" dirty="0"/>
          </a:p>
        </p:txBody>
      </p:sp>
    </p:spTree>
    <p:extLst>
      <p:ext uri="{BB962C8B-B14F-4D97-AF65-F5344CB8AC3E}">
        <p14:creationId xmlns:p14="http://schemas.microsoft.com/office/powerpoint/2010/main" val="319872194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189495"/>
            <a:ext cx="11655078" cy="2864182"/>
          </a:xfrm>
        </p:spPr>
        <p:txBody>
          <a:bodyPr/>
          <a:lstStyle/>
          <a:p>
            <a:r>
              <a:rPr lang="en-US" sz="1765" dirty="0"/>
              <a:t>Requirements:</a:t>
            </a:r>
            <a:br>
              <a:rPr lang="en-US" sz="1765" dirty="0"/>
            </a:br>
            <a:endParaRPr lang="en-US" sz="1765" dirty="0"/>
          </a:p>
          <a:p>
            <a:endParaRPr lang="en-US" sz="1765" dirty="0"/>
          </a:p>
          <a:p>
            <a:endParaRPr lang="en-US" sz="1765" dirty="0"/>
          </a:p>
          <a:p>
            <a:endParaRPr lang="en-US" sz="1765" dirty="0"/>
          </a:p>
          <a:p>
            <a:endParaRPr lang="en-US" sz="1765" dirty="0"/>
          </a:p>
          <a:p>
            <a:endParaRPr lang="en-US" sz="1765" dirty="0"/>
          </a:p>
          <a:p>
            <a:r>
              <a:rPr lang="en-US" sz="1765" dirty="0"/>
              <a:t> </a:t>
            </a:r>
          </a:p>
          <a:p>
            <a:pPr lvl="2"/>
            <a:endParaRPr lang="en-US" dirty="0"/>
          </a:p>
        </p:txBody>
      </p:sp>
      <p:sp>
        <p:nvSpPr>
          <p:cNvPr id="2" name="TextBox 1"/>
          <p:cNvSpPr txBox="1"/>
          <p:nvPr/>
        </p:nvSpPr>
        <p:spPr>
          <a:xfrm>
            <a:off x="268477" y="2846816"/>
            <a:ext cx="8361340" cy="1158629"/>
          </a:xfrm>
          <a:prstGeom prst="rect">
            <a:avLst/>
          </a:prstGeom>
          <a:noFill/>
        </p:spPr>
        <p:txBody>
          <a:bodyPr wrap="none" lIns="179285" tIns="143428" rIns="179285" bIns="143428" rtlCol="0">
            <a:spAutoFit/>
          </a:bodyPr>
          <a:lstStyle/>
          <a:p>
            <a:pPr defTabSz="914367">
              <a:lnSpc>
                <a:spcPct val="90000"/>
              </a:lnSpc>
              <a:spcBef>
                <a:spcPct val="20000"/>
              </a:spcBef>
              <a:buSzPct val="90000"/>
            </a:pPr>
            <a:r>
              <a:rPr lang="en-US" sz="1765" b="1" u="sng" dirty="0">
                <a:gradFill>
                  <a:gsLst>
                    <a:gs pos="1250">
                      <a:srgbClr val="353535"/>
                    </a:gs>
                    <a:gs pos="100000">
                      <a:srgbClr val="353535"/>
                    </a:gs>
                  </a:gsLst>
                  <a:lin ang="5400000" scaled="0"/>
                </a:gradFill>
                <a:latin typeface="Segoe UI Light"/>
              </a:rPr>
              <a:t>Total Throughput:</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10,000 messages/sec * 150 KB / message * 3 replicas = 4500 MB/sec total throughput</a:t>
            </a:r>
          </a:p>
          <a:p>
            <a:pPr defTabSz="914367">
              <a:lnSpc>
                <a:spcPct val="90000"/>
              </a:lnSpc>
              <a:spcAft>
                <a:spcPts val="588"/>
              </a:spcAft>
            </a:pPr>
            <a:endParaRPr lang="en-US" sz="2353" dirty="0">
              <a:gradFill>
                <a:gsLst>
                  <a:gs pos="2917">
                    <a:srgbClr val="353535"/>
                  </a:gs>
                  <a:gs pos="30000">
                    <a:srgbClr val="353535"/>
                  </a:gs>
                </a:gsLst>
                <a:lin ang="5400000" scaled="0"/>
              </a:gradFill>
              <a:latin typeface="Segoe UI Semilight"/>
            </a:endParaRPr>
          </a:p>
        </p:txBody>
      </p:sp>
      <p:sp>
        <p:nvSpPr>
          <p:cNvPr id="5" name="Rectangle 4">
            <a:extLst>
              <a:ext uri="{FF2B5EF4-FFF2-40B4-BE49-F238E27FC236}">
                <a16:creationId xmlns:a16="http://schemas.microsoft.com/office/drawing/2014/main" id="{A0205D47-62F0-46EF-A814-34C77F3178B7}"/>
              </a:ext>
            </a:extLst>
          </p:cNvPr>
          <p:cNvSpPr/>
          <p:nvPr/>
        </p:nvSpPr>
        <p:spPr>
          <a:xfrm>
            <a:off x="343941" y="3528265"/>
            <a:ext cx="8665440" cy="932335"/>
          </a:xfrm>
          <a:prstGeom prst="rect">
            <a:avLst/>
          </a:prstGeom>
        </p:spPr>
        <p:txBody>
          <a:bodyPr wrap="square">
            <a:spAutoFit/>
          </a:bodyPr>
          <a:lstStyle/>
          <a:p>
            <a:pPr defTabSz="914367">
              <a:lnSpc>
                <a:spcPct val="90000"/>
              </a:lnSpc>
              <a:spcBef>
                <a:spcPct val="20000"/>
              </a:spcBef>
              <a:buSzPct val="90000"/>
            </a:pPr>
            <a:endParaRPr lang="en-US" sz="1765" dirty="0">
              <a:gradFill>
                <a:gsLst>
                  <a:gs pos="1250">
                    <a:srgbClr val="353535"/>
                  </a:gs>
                  <a:gs pos="100000">
                    <a:srgbClr val="353535"/>
                  </a:gs>
                </a:gsLst>
                <a:lin ang="5400000" scaled="0"/>
              </a:gradFill>
              <a:latin typeface="Segoe UI Light"/>
            </a:endParaRPr>
          </a:p>
          <a:p>
            <a:pPr defTabSz="914367">
              <a:lnSpc>
                <a:spcPct val="90000"/>
              </a:lnSpc>
              <a:spcBef>
                <a:spcPct val="20000"/>
              </a:spcBef>
              <a:buSzPct val="90000"/>
            </a:pPr>
            <a:r>
              <a:rPr lang="en-US" sz="1765" b="1" u="sng" dirty="0">
                <a:gradFill>
                  <a:gsLst>
                    <a:gs pos="1250">
                      <a:srgbClr val="353535"/>
                    </a:gs>
                    <a:gs pos="100000">
                      <a:srgbClr val="353535"/>
                    </a:gs>
                  </a:gsLst>
                  <a:lin ang="5400000" scaled="0"/>
                </a:gradFill>
                <a:latin typeface="Segoe UI Light"/>
              </a:rPr>
              <a:t>Nodes needed from network throughput perspective</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4500 MB/sec  / 450 </a:t>
            </a:r>
            <a:r>
              <a:rPr lang="en-US" sz="1765" dirty="0" err="1">
                <a:gradFill>
                  <a:gsLst>
                    <a:gs pos="1250">
                      <a:srgbClr val="353535"/>
                    </a:gs>
                    <a:gs pos="100000">
                      <a:srgbClr val="353535"/>
                    </a:gs>
                  </a:gsLst>
                  <a:lin ang="5400000" scaled="0"/>
                </a:gradFill>
                <a:latin typeface="Segoe UI Light"/>
              </a:rPr>
              <a:t>MBps</a:t>
            </a:r>
            <a:r>
              <a:rPr lang="en-US" sz="1765" dirty="0">
                <a:gradFill>
                  <a:gsLst>
                    <a:gs pos="1250">
                      <a:srgbClr val="353535"/>
                    </a:gs>
                    <a:gs pos="100000">
                      <a:srgbClr val="353535"/>
                    </a:gs>
                  </a:gsLst>
                  <a:lin ang="5400000" scaled="0"/>
                </a:gradFill>
                <a:latin typeface="Segoe UI Light"/>
              </a:rPr>
              <a:t>)  = </a:t>
            </a:r>
            <a:r>
              <a:rPr lang="en-US" sz="1765" b="1" i="1" dirty="0">
                <a:gradFill>
                  <a:gsLst>
                    <a:gs pos="1250">
                      <a:srgbClr val="353535"/>
                    </a:gs>
                    <a:gs pos="100000">
                      <a:srgbClr val="353535"/>
                    </a:gs>
                  </a:gsLst>
                  <a:lin ang="5400000" scaled="0"/>
                </a:gradFill>
                <a:latin typeface="Segoe UI Light"/>
              </a:rPr>
              <a:t>10 Nodes</a:t>
            </a:r>
            <a:r>
              <a:rPr lang="en-US" sz="1765" dirty="0">
                <a:gradFill>
                  <a:gsLst>
                    <a:gs pos="1250">
                      <a:srgbClr val="353535"/>
                    </a:gs>
                    <a:gs pos="100000">
                      <a:srgbClr val="353535"/>
                    </a:gs>
                  </a:gsLst>
                  <a:lin ang="5400000" scaled="0"/>
                </a:gradFill>
                <a:latin typeface="Segoe UI Light"/>
              </a:rPr>
              <a:t> to accommodate the network bandwidth </a:t>
            </a:r>
          </a:p>
        </p:txBody>
      </p:sp>
      <p:sp>
        <p:nvSpPr>
          <p:cNvPr id="8" name="Rectangle 7">
            <a:extLst>
              <a:ext uri="{FF2B5EF4-FFF2-40B4-BE49-F238E27FC236}">
                <a16:creationId xmlns:a16="http://schemas.microsoft.com/office/drawing/2014/main" id="{0A665183-7617-4F52-AC1F-4FC802EACC92}"/>
              </a:ext>
            </a:extLst>
          </p:cNvPr>
          <p:cNvSpPr/>
          <p:nvPr/>
        </p:nvSpPr>
        <p:spPr>
          <a:xfrm>
            <a:off x="343941" y="4695773"/>
            <a:ext cx="10981204" cy="633625"/>
          </a:xfrm>
          <a:prstGeom prst="rect">
            <a:avLst/>
          </a:prstGeom>
        </p:spPr>
        <p:txBody>
          <a:bodyPr wrap="square">
            <a:spAutoFit/>
          </a:bodyPr>
          <a:lstStyle/>
          <a:p>
            <a:pPr defTabSz="914367">
              <a:lnSpc>
                <a:spcPct val="90000"/>
              </a:lnSpc>
              <a:spcBef>
                <a:spcPct val="20000"/>
              </a:spcBef>
              <a:buSzPct val="90000"/>
            </a:pPr>
            <a:r>
              <a:rPr lang="en-US" sz="1765" b="1" u="sng" dirty="0">
                <a:gradFill>
                  <a:gsLst>
                    <a:gs pos="1250">
                      <a:srgbClr val="353535"/>
                    </a:gs>
                    <a:gs pos="100000">
                      <a:srgbClr val="353535"/>
                    </a:gs>
                  </a:gsLst>
                  <a:lin ang="5400000" scaled="0"/>
                </a:gradFill>
                <a:latin typeface="Segoe UI Light"/>
              </a:rPr>
              <a:t># Nodes needed from storage perspective:</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4500 MB/sec * 12 hours = </a:t>
            </a:r>
            <a:r>
              <a:rPr lang="hr-HR" sz="1765" dirty="0">
                <a:gradFill>
                  <a:gsLst>
                    <a:gs pos="1250">
                      <a:srgbClr val="353535"/>
                    </a:gs>
                    <a:gs pos="100000">
                      <a:srgbClr val="353535"/>
                    </a:gs>
                  </a:gsLst>
                  <a:lin ang="5400000" scaled="0"/>
                </a:gradFill>
                <a:latin typeface="Segoe UI Light"/>
              </a:rPr>
              <a:t>194.4</a:t>
            </a:r>
            <a:r>
              <a:rPr lang="en-US" sz="1765" dirty="0">
                <a:gradFill>
                  <a:gsLst>
                    <a:gs pos="1250">
                      <a:srgbClr val="353535"/>
                    </a:gs>
                    <a:gs pos="100000">
                      <a:srgbClr val="353535"/>
                    </a:gs>
                  </a:gsLst>
                  <a:lin ang="5400000" scaled="0"/>
                </a:gradFill>
                <a:latin typeface="Segoe UI Light"/>
              </a:rPr>
              <a:t> TB / retention policy. </a:t>
            </a:r>
          </a:p>
        </p:txBody>
      </p:sp>
      <p:sp>
        <p:nvSpPr>
          <p:cNvPr id="9" name="Rectangle 8">
            <a:extLst>
              <a:ext uri="{FF2B5EF4-FFF2-40B4-BE49-F238E27FC236}">
                <a16:creationId xmlns:a16="http://schemas.microsoft.com/office/drawing/2014/main" id="{A0205D47-62F0-46EF-A814-34C77F3178B7}"/>
              </a:ext>
            </a:extLst>
          </p:cNvPr>
          <p:cNvSpPr/>
          <p:nvPr/>
        </p:nvSpPr>
        <p:spPr>
          <a:xfrm>
            <a:off x="7739446" y="1088246"/>
            <a:ext cx="5036436" cy="633625"/>
          </a:xfrm>
          <a:prstGeom prst="rect">
            <a:avLst/>
          </a:prstGeom>
        </p:spPr>
        <p:txBody>
          <a:bodyPr wrap="square">
            <a:spAutoFit/>
          </a:bodyPr>
          <a:lstStyle/>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Known Inputs through </a:t>
            </a:r>
            <a:r>
              <a:rPr lang="en-US" sz="1765" dirty="0" err="1">
                <a:gradFill>
                  <a:gsLst>
                    <a:gs pos="1250">
                      <a:srgbClr val="353535"/>
                    </a:gs>
                    <a:gs pos="100000">
                      <a:srgbClr val="353535"/>
                    </a:gs>
                  </a:gsLst>
                  <a:lin ang="5400000" scaled="0"/>
                </a:gradFill>
                <a:latin typeface="Segoe UI Light"/>
              </a:rPr>
              <a:t>iPerf</a:t>
            </a:r>
            <a:r>
              <a:rPr lang="en-US" sz="1765" dirty="0">
                <a:gradFill>
                  <a:gsLst>
                    <a:gs pos="1250">
                      <a:srgbClr val="353535"/>
                    </a:gs>
                    <a:gs pos="100000">
                      <a:srgbClr val="353535"/>
                    </a:gs>
                  </a:gsLst>
                  <a:lin ang="5400000" scaled="0"/>
                </a:gradFill>
                <a:latin typeface="Segoe UI Light"/>
              </a:rPr>
              <a:t> Runs: </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D12V2 VMs Network limit: 450 </a:t>
            </a:r>
            <a:r>
              <a:rPr lang="en-US" sz="1765" dirty="0" err="1">
                <a:gradFill>
                  <a:gsLst>
                    <a:gs pos="1250">
                      <a:srgbClr val="353535"/>
                    </a:gs>
                    <a:gs pos="100000">
                      <a:srgbClr val="353535"/>
                    </a:gs>
                  </a:gsLst>
                  <a:lin ang="5400000" scaled="0"/>
                </a:gradFill>
                <a:latin typeface="Segoe UI Light"/>
              </a:rPr>
              <a:t>MBps</a:t>
            </a:r>
            <a:endParaRPr lang="en-US" sz="1765" dirty="0">
              <a:gradFill>
                <a:gsLst>
                  <a:gs pos="1250">
                    <a:srgbClr val="353535"/>
                  </a:gs>
                  <a:gs pos="100000">
                    <a:srgbClr val="353535"/>
                  </a:gs>
                </a:gsLst>
                <a:lin ang="5400000" scaled="0"/>
              </a:gradFill>
              <a:latin typeface="Segoe UI Light"/>
            </a:endParaRPr>
          </a:p>
        </p:txBody>
      </p:sp>
      <p:sp>
        <p:nvSpPr>
          <p:cNvPr id="10" name="Rectangle 9">
            <a:extLst>
              <a:ext uri="{FF2B5EF4-FFF2-40B4-BE49-F238E27FC236}">
                <a16:creationId xmlns:a16="http://schemas.microsoft.com/office/drawing/2014/main" id="{0A665183-7617-4F52-AC1F-4FC802EACC92}"/>
              </a:ext>
            </a:extLst>
          </p:cNvPr>
          <p:cNvSpPr/>
          <p:nvPr/>
        </p:nvSpPr>
        <p:spPr>
          <a:xfrm>
            <a:off x="343941" y="5369063"/>
            <a:ext cx="10981204" cy="579315"/>
          </a:xfrm>
          <a:prstGeom prst="rect">
            <a:avLst/>
          </a:prstGeom>
        </p:spPr>
        <p:txBody>
          <a:bodyPr wrap="square">
            <a:spAutoFit/>
          </a:bodyPr>
          <a:lstStyle/>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 Since each VM can attach 16 disks of 1 TB each.</a:t>
            </a:r>
            <a:br>
              <a:rPr lang="en-US" sz="1765" dirty="0">
                <a:gradFill>
                  <a:gsLst>
                    <a:gs pos="1250">
                      <a:srgbClr val="353535"/>
                    </a:gs>
                    <a:gs pos="100000">
                      <a:srgbClr val="353535"/>
                    </a:gs>
                  </a:gsLst>
                  <a:lin ang="5400000" scaled="0"/>
                </a:gradFill>
                <a:latin typeface="Segoe UI Light"/>
              </a:rPr>
            </a:br>
            <a:r>
              <a:rPr lang="en-US" sz="1765" dirty="0">
                <a:gradFill>
                  <a:gsLst>
                    <a:gs pos="1250">
                      <a:srgbClr val="353535"/>
                    </a:gs>
                    <a:gs pos="100000">
                      <a:srgbClr val="353535"/>
                    </a:gs>
                  </a:gsLst>
                  <a:lin ang="5400000" scaled="0"/>
                </a:gradFill>
                <a:latin typeface="Segoe UI Light"/>
              </a:rPr>
              <a:t>194.4 TB / 16 disks per node =&gt; 13 nodes from storage perspective</a:t>
            </a:r>
          </a:p>
        </p:txBody>
      </p:sp>
      <p:sp>
        <p:nvSpPr>
          <p:cNvPr id="11" name="Rectangle 10">
            <a:extLst>
              <a:ext uri="{FF2B5EF4-FFF2-40B4-BE49-F238E27FC236}">
                <a16:creationId xmlns:a16="http://schemas.microsoft.com/office/drawing/2014/main" id="{0A665183-7617-4F52-AC1F-4FC802EACC92}"/>
              </a:ext>
            </a:extLst>
          </p:cNvPr>
          <p:cNvSpPr/>
          <p:nvPr/>
        </p:nvSpPr>
        <p:spPr>
          <a:xfrm>
            <a:off x="343941" y="5658720"/>
            <a:ext cx="13595776" cy="1475441"/>
          </a:xfrm>
          <a:prstGeom prst="rect">
            <a:avLst/>
          </a:prstGeom>
        </p:spPr>
        <p:txBody>
          <a:bodyPr wrap="square">
            <a:spAutoFit/>
          </a:bodyPr>
          <a:lstStyle/>
          <a:p>
            <a:pPr defTabSz="914367">
              <a:lnSpc>
                <a:spcPct val="90000"/>
              </a:lnSpc>
              <a:spcBef>
                <a:spcPct val="20000"/>
              </a:spcBef>
              <a:buSzPct val="90000"/>
            </a:pPr>
            <a:endParaRPr lang="en-US" sz="1765" dirty="0">
              <a:gradFill>
                <a:gsLst>
                  <a:gs pos="1250">
                    <a:srgbClr val="353535"/>
                  </a:gs>
                  <a:gs pos="100000">
                    <a:srgbClr val="353535"/>
                  </a:gs>
                </a:gsLst>
                <a:lin ang="5400000" scaled="0"/>
              </a:gradFill>
              <a:latin typeface="Segoe UI Light"/>
            </a:endParaRPr>
          </a:p>
          <a:p>
            <a:pPr defTabSz="914367">
              <a:lnSpc>
                <a:spcPct val="90000"/>
              </a:lnSpc>
              <a:spcBef>
                <a:spcPct val="20000"/>
              </a:spcBef>
              <a:buSzPct val="90000"/>
            </a:pPr>
            <a:r>
              <a:rPr lang="en-US" sz="1765" b="1" u="sng" dirty="0">
                <a:gradFill>
                  <a:gsLst>
                    <a:gs pos="1250">
                      <a:srgbClr val="353535"/>
                    </a:gs>
                    <a:gs pos="100000">
                      <a:srgbClr val="353535"/>
                    </a:gs>
                  </a:gsLst>
                  <a:lin ang="5400000" scaled="0"/>
                </a:gradFill>
                <a:latin typeface="Segoe UI Light"/>
              </a:rPr>
              <a:t>Final # nodes needed:</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 MAX(#Network Nodes, #Storage Nodes) =&gt; </a:t>
            </a:r>
          </a:p>
          <a:p>
            <a:pPr defTabSz="914367">
              <a:lnSpc>
                <a:spcPct val="90000"/>
              </a:lnSpc>
              <a:spcBef>
                <a:spcPct val="20000"/>
              </a:spcBef>
              <a:buSzPct val="90000"/>
            </a:pPr>
            <a:r>
              <a:rPr lang="en-US" sz="1765" dirty="0">
                <a:gradFill>
                  <a:gsLst>
                    <a:gs pos="1250">
                      <a:srgbClr val="353535"/>
                    </a:gs>
                    <a:gs pos="100000">
                      <a:srgbClr val="353535"/>
                    </a:gs>
                  </a:gsLst>
                  <a:lin ang="5400000" scaled="0"/>
                </a:gradFill>
                <a:latin typeface="Segoe UI Light"/>
              </a:rPr>
              <a:t>13 nodes with 16 managed disks on each node</a:t>
            </a:r>
            <a:br>
              <a:rPr lang="en-US" sz="1765" dirty="0">
                <a:gradFill>
                  <a:gsLst>
                    <a:gs pos="1250">
                      <a:srgbClr val="353535"/>
                    </a:gs>
                    <a:gs pos="100000">
                      <a:srgbClr val="353535"/>
                    </a:gs>
                  </a:gsLst>
                  <a:lin ang="5400000" scaled="0"/>
                </a:gradFill>
                <a:latin typeface="Segoe UI Light"/>
              </a:rPr>
            </a:br>
            <a:endParaRPr lang="en-US" sz="1765" dirty="0">
              <a:gradFill>
                <a:gsLst>
                  <a:gs pos="1250">
                    <a:srgbClr val="353535"/>
                  </a:gs>
                  <a:gs pos="100000">
                    <a:srgbClr val="353535"/>
                  </a:gs>
                </a:gsLst>
                <a:lin ang="5400000" scaled="0"/>
              </a:gradFill>
              <a:latin typeface="Segoe UI Light"/>
            </a:endParaRPr>
          </a:p>
        </p:txBody>
      </p:sp>
      <p:pic>
        <p:nvPicPr>
          <p:cNvPr id="16" name="Graphic 15">
            <a:extLst>
              <a:ext uri="{FF2B5EF4-FFF2-40B4-BE49-F238E27FC236}">
                <a16:creationId xmlns:a16="http://schemas.microsoft.com/office/drawing/2014/main" id="{5D4D3D45-6896-A546-A586-41A0551B25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804" y="39646"/>
            <a:ext cx="1149532" cy="1149532"/>
          </a:xfrm>
          <a:prstGeom prst="rect">
            <a:avLst/>
          </a:prstGeom>
        </p:spPr>
      </p:pic>
      <p:sp>
        <p:nvSpPr>
          <p:cNvPr id="18" name="Title 5">
            <a:extLst>
              <a:ext uri="{FF2B5EF4-FFF2-40B4-BE49-F238E27FC236}">
                <a16:creationId xmlns:a16="http://schemas.microsoft.com/office/drawing/2014/main" id="{EFFEFB65-41E4-6143-9FD1-B2A5AB3D4F7D}"/>
              </a:ext>
            </a:extLst>
          </p:cNvPr>
          <p:cNvSpPr>
            <a:spLocks noGrp="1"/>
          </p:cNvSpPr>
          <p:nvPr>
            <p:ph type="title"/>
          </p:nvPr>
        </p:nvSpPr>
        <p:spPr>
          <a:xfrm>
            <a:off x="1987386" y="137956"/>
            <a:ext cx="9769708" cy="899665"/>
          </a:xfrm>
        </p:spPr>
        <p:txBody>
          <a:bodyPr/>
          <a:lstStyle/>
          <a:p>
            <a:r>
              <a:rPr lang="en-US" dirty="0"/>
              <a:t>Sizing – brokers</a:t>
            </a:r>
            <a:endParaRPr lang="en-US" b="1" dirty="0">
              <a:solidFill>
                <a:schemeClr val="tx1"/>
              </a:solidFill>
            </a:endParaRPr>
          </a:p>
        </p:txBody>
      </p:sp>
      <p:pic>
        <p:nvPicPr>
          <p:cNvPr id="19" name="Picture 18">
            <a:extLst>
              <a:ext uri="{FF2B5EF4-FFF2-40B4-BE49-F238E27FC236}">
                <a16:creationId xmlns:a16="http://schemas.microsoft.com/office/drawing/2014/main" id="{1EC9A0C7-62B4-D845-8DE6-98F8E0523CE1}"/>
              </a:ext>
            </a:extLst>
          </p:cNvPr>
          <p:cNvPicPr>
            <a:picLocks noChangeAspect="1"/>
          </p:cNvPicPr>
          <p:nvPr/>
        </p:nvPicPr>
        <p:blipFill>
          <a:blip r:embed="rId5"/>
          <a:stretch>
            <a:fillRect/>
          </a:stretch>
        </p:blipFill>
        <p:spPr>
          <a:xfrm>
            <a:off x="1324336" y="20778"/>
            <a:ext cx="749300" cy="1168400"/>
          </a:xfrm>
          <a:prstGeom prst="rect">
            <a:avLst/>
          </a:prstGeom>
        </p:spPr>
      </p:pic>
      <p:graphicFrame>
        <p:nvGraphicFramePr>
          <p:cNvPr id="3" name="Table 2">
            <a:extLst>
              <a:ext uri="{FF2B5EF4-FFF2-40B4-BE49-F238E27FC236}">
                <a16:creationId xmlns:a16="http://schemas.microsoft.com/office/drawing/2014/main" id="{AC1B79F5-38BA-454F-92EB-2765A21AEFEE}"/>
              </a:ext>
            </a:extLst>
          </p:cNvPr>
          <p:cNvGraphicFramePr>
            <a:graphicFrameLocks noGrp="1"/>
          </p:cNvGraphicFramePr>
          <p:nvPr>
            <p:extLst>
              <p:ext uri="{D42A27DB-BD31-4B8C-83A1-F6EECF244321}">
                <p14:modId xmlns:p14="http://schemas.microsoft.com/office/powerpoint/2010/main" val="2886677767"/>
              </p:ext>
            </p:extLst>
          </p:nvPr>
        </p:nvGraphicFramePr>
        <p:xfrm>
          <a:off x="1987386" y="1136664"/>
          <a:ext cx="5378549" cy="1544892"/>
        </p:xfrm>
        <a:graphic>
          <a:graphicData uri="http://schemas.openxmlformats.org/drawingml/2006/table">
            <a:tbl>
              <a:tblPr firstRow="1" bandRow="1">
                <a:tableStyleId>{2D5ABB26-0587-4C30-8999-92F81FD0307C}</a:tableStyleId>
              </a:tblPr>
              <a:tblGrid>
                <a:gridCol w="2166360">
                  <a:extLst>
                    <a:ext uri="{9D8B030D-6E8A-4147-A177-3AD203B41FA5}">
                      <a16:colId xmlns:a16="http://schemas.microsoft.com/office/drawing/2014/main" val="111963875"/>
                    </a:ext>
                  </a:extLst>
                </a:gridCol>
                <a:gridCol w="3212189">
                  <a:extLst>
                    <a:ext uri="{9D8B030D-6E8A-4147-A177-3AD203B41FA5}">
                      <a16:colId xmlns:a16="http://schemas.microsoft.com/office/drawing/2014/main" val="765355568"/>
                    </a:ext>
                  </a:extLst>
                </a:gridCol>
              </a:tblGrid>
              <a:tr h="386223">
                <a:tc>
                  <a:txBody>
                    <a:bodyPr/>
                    <a:lstStyle/>
                    <a:p>
                      <a:r>
                        <a:rPr lang="en-US" sz="1700" dirty="0"/>
                        <a:t>Message Rat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700" dirty="0"/>
                        <a:t>10,000 messages/sec</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9928332"/>
                  </a:ext>
                </a:extLst>
              </a:tr>
              <a:tr h="386223">
                <a:tc>
                  <a:txBody>
                    <a:bodyPr/>
                    <a:lstStyle/>
                    <a:p>
                      <a:r>
                        <a:rPr lang="en-US" sz="1700" dirty="0"/>
                        <a:t>Message siz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700" dirty="0"/>
                        <a:t>150 KB upper-bound</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5618273"/>
                  </a:ext>
                </a:extLst>
              </a:tr>
              <a:tr h="386223">
                <a:tc>
                  <a:txBody>
                    <a:bodyPr/>
                    <a:lstStyle/>
                    <a:p>
                      <a:r>
                        <a:rPr lang="en-US" sz="1700" dirty="0"/>
                        <a:t>Replica count</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700" dirty="0"/>
                        <a:t>3</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7865246"/>
                  </a:ext>
                </a:extLst>
              </a:tr>
              <a:tr h="386223">
                <a:tc>
                  <a:txBody>
                    <a:bodyPr/>
                    <a:lstStyle/>
                    <a:p>
                      <a:r>
                        <a:rPr lang="en-US" sz="1700" dirty="0"/>
                        <a:t>Retention Policy</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700" dirty="0"/>
                        <a:t>12 hours</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9326182"/>
                  </a:ext>
                </a:extLst>
              </a:tr>
            </a:tbl>
          </a:graphicData>
        </a:graphic>
      </p:graphicFrame>
    </p:spTree>
    <p:extLst>
      <p:ext uri="{BB962C8B-B14F-4D97-AF65-F5344CB8AC3E}">
        <p14:creationId xmlns:p14="http://schemas.microsoft.com/office/powerpoint/2010/main" val="46329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8" grpId="0"/>
      <p:bldP spid="10" grpId="0"/>
      <p:bldP spid="1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Upgrades</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Don’t happen automatically.</a:t>
            </a:r>
            <a:br>
              <a:rPr lang="en-US" dirty="0"/>
            </a:br>
            <a:r>
              <a:rPr lang="en-US" dirty="0"/>
              <a:t>Keep up with what’s new in HDInsight, and plan upgrades.</a:t>
            </a:r>
            <a:br>
              <a:rPr lang="en-US" dirty="0"/>
            </a:br>
            <a:br>
              <a:rPr lang="en-US" dirty="0"/>
            </a:br>
            <a:r>
              <a:rPr lang="en-US" sz="2400" dirty="0">
                <a:hlinkClick r:id="rId5"/>
              </a:rPr>
              <a:t>https://docs.microsoft.com/en-us/azure/hdinsight/hdinsight-upgrade-cluster?toc=%2Fen-us%2Fazure%2Fhdinsight%2Fkafka%2FTOC.json&amp;bc=%2Fen-us%2Fazure%2Fbread%2Ftoc.json</a:t>
            </a:r>
            <a:endParaRPr lang="en-US" sz="2400" dirty="0"/>
          </a:p>
          <a:p>
            <a:pPr marL="0" indent="0">
              <a:buNone/>
            </a:pPr>
            <a:br>
              <a:rPr lang="en-US" dirty="0"/>
            </a:br>
            <a:br>
              <a:rPr lang="en-US" sz="3200" dirty="0"/>
            </a:br>
            <a:endParaRPr lang="en-US" sz="3200" dirty="0"/>
          </a:p>
          <a:p>
            <a:pPr marL="0" indent="0">
              <a:buNone/>
            </a:pPr>
            <a:endParaRPr lang="en-US" sz="3200" dirty="0"/>
          </a:p>
        </p:txBody>
      </p:sp>
    </p:spTree>
    <p:extLst>
      <p:ext uri="{BB962C8B-B14F-4D97-AF65-F5344CB8AC3E}">
        <p14:creationId xmlns:p14="http://schemas.microsoft.com/office/powerpoint/2010/main" val="6001924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Pricing</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For 5 broker Kafka cluster of DS14v2 SKU (max disk throughput of 768 </a:t>
            </a:r>
            <a:r>
              <a:rPr lang="en-US" sz="2000" dirty="0" err="1"/>
              <a:t>MBps</a:t>
            </a:r>
            <a:r>
              <a:rPr lang="en-US" sz="2000" dirty="0"/>
              <a:t>), with 4x1 TB disks per node, with 2 head nodes and 3 zookeepers, price below for premium versus standard managed disks.</a:t>
            </a:r>
          </a:p>
          <a:p>
            <a:pPr marL="0" indent="0">
              <a:buNone/>
            </a:pPr>
            <a:endParaRPr lang="en-US" sz="2000" dirty="0"/>
          </a:p>
          <a:p>
            <a:pPr marL="0" indent="0">
              <a:buNone/>
            </a:pPr>
            <a:endParaRPr lang="en-US" sz="2000" dirty="0"/>
          </a:p>
        </p:txBody>
      </p:sp>
      <p:pic>
        <p:nvPicPr>
          <p:cNvPr id="3" name="Picture 2">
            <a:extLst>
              <a:ext uri="{FF2B5EF4-FFF2-40B4-BE49-F238E27FC236}">
                <a16:creationId xmlns:a16="http://schemas.microsoft.com/office/drawing/2014/main" id="{ECC1B13F-5031-6A42-BB87-C8F5EA9B81B8}"/>
              </a:ext>
            </a:extLst>
          </p:cNvPr>
          <p:cNvPicPr>
            <a:picLocks noChangeAspect="1"/>
          </p:cNvPicPr>
          <p:nvPr/>
        </p:nvPicPr>
        <p:blipFill>
          <a:blip r:embed="rId5"/>
          <a:stretch>
            <a:fillRect/>
          </a:stretch>
        </p:blipFill>
        <p:spPr>
          <a:xfrm>
            <a:off x="454478" y="2008414"/>
            <a:ext cx="9867900" cy="2514600"/>
          </a:xfrm>
          <a:prstGeom prst="rect">
            <a:avLst/>
          </a:prstGeom>
        </p:spPr>
      </p:pic>
    </p:spTree>
    <p:extLst>
      <p:ext uri="{BB962C8B-B14F-4D97-AF65-F5344CB8AC3E}">
        <p14:creationId xmlns:p14="http://schemas.microsoft.com/office/powerpoint/2010/main" val="190977518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4747" y="289513"/>
            <a:ext cx="9769708" cy="899665"/>
          </a:xfrm>
        </p:spPr>
        <p:txBody>
          <a:bodyPr/>
          <a:lstStyle/>
          <a:p>
            <a:r>
              <a:rPr lang="en-US" dirty="0"/>
              <a:t>Databricks Spark - integration</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2" name="TextBox 1">
            <a:extLst>
              <a:ext uri="{FF2B5EF4-FFF2-40B4-BE49-F238E27FC236}">
                <a16:creationId xmlns:a16="http://schemas.microsoft.com/office/drawing/2014/main" id="{2944B5D4-C7A8-714A-A8BC-F6DEF964ED91}"/>
              </a:ext>
            </a:extLst>
          </p:cNvPr>
          <p:cNvSpPr txBox="1"/>
          <p:nvPr/>
        </p:nvSpPr>
        <p:spPr>
          <a:xfrm>
            <a:off x="527957" y="1045029"/>
            <a:ext cx="11136086" cy="6374053"/>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With </a:t>
            </a:r>
            <a:r>
              <a:rPr lang="en-US" sz="2800" b="1" dirty="0" err="1">
                <a:gradFill>
                  <a:gsLst>
                    <a:gs pos="2917">
                      <a:schemeClr val="tx1"/>
                    </a:gs>
                    <a:gs pos="30000">
                      <a:schemeClr val="tx1"/>
                    </a:gs>
                  </a:gsLst>
                  <a:lin ang="5400000" scaled="0"/>
                </a:gradFill>
              </a:rPr>
              <a:t>Vnet</a:t>
            </a:r>
            <a:r>
              <a:rPr lang="en-US" sz="2800" b="1" dirty="0">
                <a:gradFill>
                  <a:gsLst>
                    <a:gs pos="2917">
                      <a:schemeClr val="tx1"/>
                    </a:gs>
                    <a:gs pos="30000">
                      <a:schemeClr val="tx1"/>
                    </a:gs>
                  </a:gsLst>
                  <a:lin ang="5400000" scaled="0"/>
                </a:gradFill>
              </a:rPr>
              <a:t> injection:</a:t>
            </a:r>
          </a:p>
          <a:p>
            <a:pPr>
              <a:lnSpc>
                <a:spcPct val="90000"/>
              </a:lnSpc>
              <a:spcAft>
                <a:spcPts val="600"/>
              </a:spcAft>
            </a:pP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injection is very new in Databrick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With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injection, you just need to deploy HDInsight and Databricks in the same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and you are good to go.</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Without </a:t>
            </a:r>
            <a:r>
              <a:rPr lang="en-US" sz="2800" b="1" dirty="0" err="1">
                <a:gradFill>
                  <a:gsLst>
                    <a:gs pos="2917">
                      <a:schemeClr val="tx1"/>
                    </a:gs>
                    <a:gs pos="30000">
                      <a:schemeClr val="tx1"/>
                    </a:gs>
                  </a:gsLst>
                  <a:lin ang="5400000" scaled="0"/>
                </a:gradFill>
              </a:rPr>
              <a:t>Vnet</a:t>
            </a:r>
            <a:r>
              <a:rPr lang="en-US" sz="2800" b="1" dirty="0">
                <a:gradFill>
                  <a:gsLst>
                    <a:gs pos="2917">
                      <a:schemeClr val="tx1"/>
                    </a:gs>
                    <a:gs pos="30000">
                      <a:schemeClr val="tx1"/>
                    </a:gs>
                  </a:gsLst>
                  <a:lin ang="5400000" scaled="0"/>
                </a:gradFill>
              </a:rPr>
              <a:t> injection:</a:t>
            </a:r>
          </a:p>
          <a:p>
            <a:pPr lvl="1">
              <a:lnSpc>
                <a:spcPct val="90000"/>
              </a:lnSpc>
              <a:spcAft>
                <a:spcPts val="600"/>
              </a:spcAft>
            </a:pPr>
            <a:r>
              <a:rPr lang="en-US" sz="2000" b="1" dirty="0">
                <a:gradFill>
                  <a:gsLst>
                    <a:gs pos="2917">
                      <a:schemeClr val="tx1"/>
                    </a:gs>
                    <a:gs pos="30000">
                      <a:schemeClr val="tx1"/>
                    </a:gs>
                  </a:gsLst>
                  <a:lin ang="5400000" scaled="0"/>
                </a:gradFill>
              </a:rPr>
              <a:t>Databricks</a:t>
            </a:r>
            <a:r>
              <a:rPr lang="en-US" sz="2000" dirty="0">
                <a:gradFill>
                  <a:gsLst>
                    <a:gs pos="2917">
                      <a:schemeClr val="tx1"/>
                    </a:gs>
                    <a:gs pos="30000">
                      <a:schemeClr val="tx1"/>
                    </a:gs>
                  </a:gsLst>
                  <a:lin ang="5400000" scaled="0"/>
                </a:gradFill>
              </a:rPr>
              <a: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Peer the Databricks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to the Kafka </a:t>
            </a:r>
            <a:r>
              <a:rPr lang="en-US" sz="2000" dirty="0" err="1">
                <a:gradFill>
                  <a:gsLst>
                    <a:gs pos="2917">
                      <a:schemeClr val="tx1"/>
                    </a:gs>
                    <a:gs pos="30000">
                      <a:schemeClr val="tx1"/>
                    </a:gs>
                  </a:gsLst>
                  <a:lin ang="5400000" scaled="0"/>
                </a:gradFill>
              </a:rPr>
              <a:t>Vnet</a:t>
            </a:r>
            <a:br>
              <a:rPr lang="en-US" sz="2000" dirty="0">
                <a:gradFill>
                  <a:gsLst>
                    <a:gs pos="2917">
                      <a:schemeClr val="tx1"/>
                    </a:gs>
                    <a:gs pos="30000">
                      <a:schemeClr val="tx1"/>
                    </a:gs>
                  </a:gsLst>
                  <a:lin ang="5400000" scaled="0"/>
                </a:gradFill>
              </a:rPr>
            </a:br>
            <a:br>
              <a:rPr lang="en-US" sz="2000" dirty="0">
                <a:gradFill>
                  <a:gsLst>
                    <a:gs pos="2917">
                      <a:schemeClr val="tx1"/>
                    </a:gs>
                    <a:gs pos="30000">
                      <a:schemeClr val="tx1"/>
                    </a:gs>
                  </a:gsLst>
                  <a:lin ang="5400000" scaled="0"/>
                </a:gradFill>
              </a:rPr>
            </a:br>
            <a:r>
              <a:rPr lang="en-US" sz="2000" b="1" dirty="0">
                <a:gradFill>
                  <a:gsLst>
                    <a:gs pos="2917">
                      <a:schemeClr val="tx1"/>
                    </a:gs>
                    <a:gs pos="30000">
                      <a:schemeClr val="tx1"/>
                    </a:gs>
                  </a:gsLst>
                  <a:lin ang="5400000" scaled="0"/>
                </a:gradFill>
              </a:rPr>
              <a:t>Kafka</a:t>
            </a:r>
            <a:r>
              <a:rPr lang="en-US" sz="2000" dirty="0">
                <a:gradFill>
                  <a:gsLst>
                    <a:gs pos="2917">
                      <a:schemeClr val="tx1"/>
                    </a:gs>
                    <a:gs pos="30000">
                      <a:schemeClr val="tx1"/>
                    </a:gs>
                  </a:gsLst>
                  <a:lin ang="5400000" scaled="0"/>
                </a:gradFill>
              </a:rPr>
              <a: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Peer the Kafka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with the Databricks </a:t>
            </a:r>
            <a:r>
              <a:rPr lang="en-US" sz="2000" dirty="0" err="1">
                <a:gradFill>
                  <a:gsLst>
                    <a:gs pos="2917">
                      <a:schemeClr val="tx1"/>
                    </a:gs>
                    <a:gs pos="30000">
                      <a:schemeClr val="tx1"/>
                    </a:gs>
                  </a:gsLst>
                  <a:lin ang="5400000" scaled="0"/>
                </a:gradFill>
              </a:rPr>
              <a:t>Vne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Enable IP broadcasting on your Kafka cluster</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Configure listeners to listen on all network interface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Restart Kafka</a:t>
            </a:r>
          </a:p>
          <a:p>
            <a:pPr>
              <a:lnSpc>
                <a:spcPct val="90000"/>
              </a:lnSpc>
              <a:spcAft>
                <a:spcPts val="600"/>
              </a:spcAft>
            </a:pPr>
            <a:br>
              <a:rPr lang="en-US" sz="2400"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In your Spark code:</a:t>
            </a:r>
          </a:p>
          <a:p>
            <a:pPr>
              <a:lnSpc>
                <a:spcPct val="90000"/>
              </a:lnSpc>
              <a:spcAft>
                <a:spcPts val="600"/>
              </a:spcAft>
            </a:pPr>
            <a:r>
              <a:rPr lang="en-US" sz="2400" dirty="0">
                <a:gradFill>
                  <a:gsLst>
                    <a:gs pos="2917">
                      <a:schemeClr val="tx1"/>
                    </a:gs>
                    <a:gs pos="30000">
                      <a:schemeClr val="tx1"/>
                    </a:gs>
                  </a:gsLst>
                  <a:lin ang="5400000" scaled="0"/>
                </a:gradFill>
              </a:rPr>
              <a:t>Use private IPs of the brokers</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834371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768820"/>
            <a:ext cx="11653523" cy="1320361"/>
          </a:xfrm>
        </p:spPr>
        <p:txBody>
          <a:bodyPr/>
          <a:lstStyle/>
          <a:p>
            <a:r>
              <a:rPr lang="en-US" dirty="0"/>
              <a:t>Newer kids on the block</a:t>
            </a:r>
            <a:br>
              <a:rPr lang="en-US" dirty="0"/>
            </a:br>
            <a:r>
              <a:rPr lang="en-US" sz="2800" dirty="0"/>
              <a:t>Kafka services</a:t>
            </a:r>
            <a:endParaRPr lang="en-US" dirty="0"/>
          </a:p>
        </p:txBody>
      </p:sp>
    </p:spTree>
    <p:extLst>
      <p:ext uri="{BB962C8B-B14F-4D97-AF65-F5344CB8AC3E}">
        <p14:creationId xmlns:p14="http://schemas.microsoft.com/office/powerpoint/2010/main" val="3079726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54747" y="289513"/>
            <a:ext cx="9769708" cy="899665"/>
          </a:xfrm>
        </p:spPr>
        <p:txBody>
          <a:bodyPr/>
          <a:lstStyle/>
          <a:p>
            <a:r>
              <a:rPr lang="en-US" dirty="0"/>
              <a:t>HDInsight Spark - integration</a:t>
            </a:r>
            <a:br>
              <a:rPr lang="en-US" dirty="0"/>
            </a:b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3" name="Rectangle 2">
            <a:extLst>
              <a:ext uri="{FF2B5EF4-FFF2-40B4-BE49-F238E27FC236}">
                <a16:creationId xmlns:a16="http://schemas.microsoft.com/office/drawing/2014/main" id="{AC902BB0-5ADE-5341-B8B0-ABC37ABE22F7}"/>
              </a:ext>
            </a:extLst>
          </p:cNvPr>
          <p:cNvSpPr/>
          <p:nvPr/>
        </p:nvSpPr>
        <p:spPr>
          <a:xfrm>
            <a:off x="478971" y="1410843"/>
            <a:ext cx="9769708" cy="5866221"/>
          </a:xfrm>
          <a:prstGeom prst="rect">
            <a:avLst/>
          </a:prstGeom>
        </p:spPr>
        <p:txBody>
          <a:bodyPr wrap="square">
            <a:spAutoFit/>
          </a:bodyPr>
          <a:lstStyle/>
          <a:p>
            <a:pPr>
              <a:lnSpc>
                <a:spcPct val="90000"/>
              </a:lnSpc>
              <a:spcAft>
                <a:spcPts val="600"/>
              </a:spcAft>
            </a:pPr>
            <a:r>
              <a:rPr lang="en-US" sz="2800" b="1" dirty="0">
                <a:gradFill>
                  <a:gsLst>
                    <a:gs pos="2917">
                      <a:schemeClr val="tx1"/>
                    </a:gs>
                    <a:gs pos="30000">
                      <a:schemeClr val="tx1"/>
                    </a:gs>
                  </a:gsLst>
                  <a:lin ang="5400000" scaled="0"/>
                </a:gradFill>
              </a:rPr>
              <a:t>Same </a:t>
            </a:r>
            <a:r>
              <a:rPr lang="en-US" sz="2800" b="1" dirty="0" err="1">
                <a:gradFill>
                  <a:gsLst>
                    <a:gs pos="2917">
                      <a:schemeClr val="tx1"/>
                    </a:gs>
                    <a:gs pos="30000">
                      <a:schemeClr val="tx1"/>
                    </a:gs>
                  </a:gsLst>
                  <a:lin ang="5400000" scaled="0"/>
                </a:gradFill>
              </a:rPr>
              <a:t>Vnet</a:t>
            </a:r>
            <a:r>
              <a:rPr lang="en-US" sz="2800" b="1"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Use private IPs of brokers or FQDN</a:t>
            </a:r>
          </a:p>
          <a:p>
            <a:pPr>
              <a:lnSpc>
                <a:spcPct val="90000"/>
              </a:lnSpc>
              <a:spcAft>
                <a:spcPts val="600"/>
              </a:spcAft>
            </a:pPr>
            <a:br>
              <a:rPr lang="en-US" sz="24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ifferent </a:t>
            </a:r>
            <a:r>
              <a:rPr lang="en-US" sz="2800" b="1" dirty="0" err="1">
                <a:gradFill>
                  <a:gsLst>
                    <a:gs pos="2917">
                      <a:schemeClr val="tx1"/>
                    </a:gs>
                    <a:gs pos="30000">
                      <a:schemeClr val="tx1"/>
                    </a:gs>
                  </a:gsLst>
                  <a:lin ang="5400000" scaled="0"/>
                </a:gradFill>
              </a:rPr>
              <a:t>Vnets</a:t>
            </a:r>
            <a:r>
              <a:rPr lang="en-US" sz="2800" b="1" dirty="0">
                <a:gradFill>
                  <a:gsLst>
                    <a:gs pos="2917">
                      <a:schemeClr val="tx1"/>
                    </a:gs>
                    <a:gs pos="30000">
                      <a:schemeClr val="tx1"/>
                    </a:gs>
                  </a:gsLst>
                  <a:lin ang="5400000" scaled="0"/>
                </a:gradFill>
              </a:rPr>
              <a:t>:</a:t>
            </a:r>
          </a:p>
          <a:p>
            <a:pPr lvl="1">
              <a:lnSpc>
                <a:spcPct val="90000"/>
              </a:lnSpc>
              <a:spcAft>
                <a:spcPts val="600"/>
              </a:spcAft>
            </a:pPr>
            <a:r>
              <a:rPr lang="en-US" sz="2000" b="1" dirty="0">
                <a:gradFill>
                  <a:gsLst>
                    <a:gs pos="2917">
                      <a:schemeClr val="tx1"/>
                    </a:gs>
                    <a:gs pos="30000">
                      <a:schemeClr val="tx1"/>
                    </a:gs>
                  </a:gsLst>
                  <a:lin ang="5400000" scaled="0"/>
                </a:gradFill>
              </a:rPr>
              <a:t>HDI-Spark</a:t>
            </a:r>
            <a:r>
              <a:rPr lang="en-US" sz="2000" dirty="0">
                <a:gradFill>
                  <a:gsLst>
                    <a:gs pos="2917">
                      <a:schemeClr val="tx1"/>
                    </a:gs>
                    <a:gs pos="30000">
                      <a:schemeClr val="tx1"/>
                    </a:gs>
                  </a:gsLst>
                  <a:lin ang="5400000" scaled="0"/>
                </a:gradFill>
              </a:rPr>
              <a: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Peer the HDI-Spark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to the Kafka </a:t>
            </a:r>
            <a:r>
              <a:rPr lang="en-US" sz="2000" dirty="0" err="1">
                <a:gradFill>
                  <a:gsLst>
                    <a:gs pos="2917">
                      <a:schemeClr val="tx1"/>
                    </a:gs>
                    <a:gs pos="30000">
                      <a:schemeClr val="tx1"/>
                    </a:gs>
                  </a:gsLst>
                  <a:lin ang="5400000" scaled="0"/>
                </a:gradFill>
              </a:rPr>
              <a:t>Vnet</a:t>
            </a:r>
            <a:br>
              <a:rPr lang="en-US" sz="2000" dirty="0">
                <a:gradFill>
                  <a:gsLst>
                    <a:gs pos="2917">
                      <a:schemeClr val="tx1"/>
                    </a:gs>
                    <a:gs pos="30000">
                      <a:schemeClr val="tx1"/>
                    </a:gs>
                  </a:gsLst>
                  <a:lin ang="5400000" scaled="0"/>
                </a:gradFill>
              </a:rPr>
            </a:br>
            <a:br>
              <a:rPr lang="en-US" sz="2000" dirty="0">
                <a:gradFill>
                  <a:gsLst>
                    <a:gs pos="2917">
                      <a:schemeClr val="tx1"/>
                    </a:gs>
                    <a:gs pos="30000">
                      <a:schemeClr val="tx1"/>
                    </a:gs>
                  </a:gsLst>
                  <a:lin ang="5400000" scaled="0"/>
                </a:gradFill>
              </a:rPr>
            </a:br>
            <a:r>
              <a:rPr lang="en-US" sz="2000" b="1" dirty="0">
                <a:gradFill>
                  <a:gsLst>
                    <a:gs pos="2917">
                      <a:schemeClr val="tx1"/>
                    </a:gs>
                    <a:gs pos="30000">
                      <a:schemeClr val="tx1"/>
                    </a:gs>
                  </a:gsLst>
                  <a:lin ang="5400000" scaled="0"/>
                </a:gradFill>
              </a:rPr>
              <a:t>Kafka</a:t>
            </a:r>
            <a:r>
              <a:rPr lang="en-US" sz="2000" dirty="0">
                <a:gradFill>
                  <a:gsLst>
                    <a:gs pos="2917">
                      <a:schemeClr val="tx1"/>
                    </a:gs>
                    <a:gs pos="30000">
                      <a:schemeClr val="tx1"/>
                    </a:gs>
                  </a:gsLst>
                  <a:lin ang="5400000" scaled="0"/>
                </a:gradFill>
              </a:rPr>
              <a: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Peer the Kafka </a:t>
            </a:r>
            <a:r>
              <a:rPr lang="en-US" sz="2000" dirty="0" err="1">
                <a:gradFill>
                  <a:gsLst>
                    <a:gs pos="2917">
                      <a:schemeClr val="tx1"/>
                    </a:gs>
                    <a:gs pos="30000">
                      <a:schemeClr val="tx1"/>
                    </a:gs>
                  </a:gsLst>
                  <a:lin ang="5400000" scaled="0"/>
                </a:gradFill>
              </a:rPr>
              <a:t>Vnet</a:t>
            </a:r>
            <a:r>
              <a:rPr lang="en-US" sz="2000" dirty="0">
                <a:gradFill>
                  <a:gsLst>
                    <a:gs pos="2917">
                      <a:schemeClr val="tx1"/>
                    </a:gs>
                    <a:gs pos="30000">
                      <a:schemeClr val="tx1"/>
                    </a:gs>
                  </a:gsLst>
                  <a:lin ang="5400000" scaled="0"/>
                </a:gradFill>
              </a:rPr>
              <a:t> with the HDI-Spark </a:t>
            </a:r>
            <a:r>
              <a:rPr lang="en-US" sz="2000" dirty="0" err="1">
                <a:gradFill>
                  <a:gsLst>
                    <a:gs pos="2917">
                      <a:schemeClr val="tx1"/>
                    </a:gs>
                    <a:gs pos="30000">
                      <a:schemeClr val="tx1"/>
                    </a:gs>
                  </a:gsLst>
                  <a:lin ang="5400000" scaled="0"/>
                </a:gradFill>
              </a:rPr>
              <a:t>Vnet</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Enable IP broadcasting on your Kafka cluster</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Configure listeners to listen on all network interface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Restart Kafka</a:t>
            </a:r>
          </a:p>
          <a:p>
            <a:pPr>
              <a:lnSpc>
                <a:spcPct val="90000"/>
              </a:lnSpc>
              <a:spcAft>
                <a:spcPts val="600"/>
              </a:spcAft>
            </a:pPr>
            <a:br>
              <a:rPr lang="en-US" sz="2400"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In your Spark code:</a:t>
            </a:r>
          </a:p>
          <a:p>
            <a:pPr>
              <a:lnSpc>
                <a:spcPct val="90000"/>
              </a:lnSpc>
              <a:spcAft>
                <a:spcPts val="600"/>
              </a:spcAft>
            </a:pPr>
            <a:r>
              <a:rPr lang="en-US" sz="2400" dirty="0">
                <a:gradFill>
                  <a:gsLst>
                    <a:gs pos="2917">
                      <a:schemeClr val="tx1"/>
                    </a:gs>
                    <a:gs pos="30000">
                      <a:schemeClr val="tx1"/>
                    </a:gs>
                  </a:gsLst>
                  <a:lin ang="5400000" scaled="0"/>
                </a:gradFill>
              </a:rPr>
              <a:t>Use private IPs of the brokers</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239189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C13F377-27C1-7D40-97E6-F99399F626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4804" y="39646"/>
            <a:ext cx="1149532" cy="1149532"/>
          </a:xfrm>
          <a:prstGeom prst="rect">
            <a:avLst/>
          </a:prstGeom>
        </p:spPr>
      </p:pic>
      <p:sp>
        <p:nvSpPr>
          <p:cNvPr id="6" name="Title 5">
            <a:extLst>
              <a:ext uri="{FF2B5EF4-FFF2-40B4-BE49-F238E27FC236}">
                <a16:creationId xmlns:a16="http://schemas.microsoft.com/office/drawing/2014/main" id="{BF7E6887-7B4C-614E-9DE4-84035D496295}"/>
              </a:ext>
            </a:extLst>
          </p:cNvPr>
          <p:cNvSpPr>
            <a:spLocks noGrp="1"/>
          </p:cNvSpPr>
          <p:nvPr>
            <p:ph type="title"/>
          </p:nvPr>
        </p:nvSpPr>
        <p:spPr>
          <a:xfrm>
            <a:off x="2111515" y="289513"/>
            <a:ext cx="9769708" cy="899665"/>
          </a:xfrm>
        </p:spPr>
        <p:txBody>
          <a:bodyPr/>
          <a:lstStyle/>
          <a:p>
            <a:r>
              <a:rPr lang="en-US" dirty="0"/>
              <a:t>Resources</a:t>
            </a:r>
            <a:endParaRPr lang="en-US" b="1" dirty="0">
              <a:solidFill>
                <a:schemeClr val="tx1"/>
              </a:solidFill>
            </a:endParaRPr>
          </a:p>
        </p:txBody>
      </p:sp>
      <p:pic>
        <p:nvPicPr>
          <p:cNvPr id="8" name="Picture 7">
            <a:extLst>
              <a:ext uri="{FF2B5EF4-FFF2-40B4-BE49-F238E27FC236}">
                <a16:creationId xmlns:a16="http://schemas.microsoft.com/office/drawing/2014/main" id="{47320B6C-E9B8-244A-AB79-51E95A60AFC1}"/>
              </a:ext>
            </a:extLst>
          </p:cNvPr>
          <p:cNvPicPr>
            <a:picLocks noChangeAspect="1"/>
          </p:cNvPicPr>
          <p:nvPr/>
        </p:nvPicPr>
        <p:blipFill>
          <a:blip r:embed="rId4"/>
          <a:stretch>
            <a:fillRect/>
          </a:stretch>
        </p:blipFill>
        <p:spPr>
          <a:xfrm>
            <a:off x="1324336" y="20778"/>
            <a:ext cx="749300" cy="1168400"/>
          </a:xfrm>
          <a:prstGeom prst="rect">
            <a:avLst/>
          </a:prstGeom>
        </p:spPr>
      </p:pic>
      <p:sp>
        <p:nvSpPr>
          <p:cNvPr id="9" name="Content Placeholder 2">
            <a:extLst>
              <a:ext uri="{FF2B5EF4-FFF2-40B4-BE49-F238E27FC236}">
                <a16:creationId xmlns:a16="http://schemas.microsoft.com/office/drawing/2014/main" id="{AECE923C-53D8-2E4F-9AE7-0657DDCCDD20}"/>
              </a:ext>
            </a:extLst>
          </p:cNvPr>
          <p:cNvSpPr txBox="1">
            <a:spLocks/>
          </p:cNvSpPr>
          <p:nvPr/>
        </p:nvSpPr>
        <p:spPr>
          <a:xfrm>
            <a:off x="350014" y="1302860"/>
            <a:ext cx="11177958" cy="490199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ervice Overview: </a:t>
            </a:r>
            <a:r>
              <a:rPr lang="en-US" sz="2000" dirty="0">
                <a:hlinkClick r:id="rId5"/>
              </a:rPr>
              <a:t>https://azure.microsoft.com/en-us/services/hdinsight/</a:t>
            </a:r>
            <a:br>
              <a:rPr lang="en-US" sz="2000" dirty="0"/>
            </a:br>
            <a:endParaRPr lang="en-US" sz="2000" dirty="0"/>
          </a:p>
          <a:p>
            <a:pPr marL="0" indent="0">
              <a:buNone/>
            </a:pPr>
            <a:r>
              <a:rPr lang="en-US" sz="2000" dirty="0"/>
              <a:t>Docs Landing Page: </a:t>
            </a:r>
            <a:r>
              <a:rPr lang="en-US" sz="2000" dirty="0">
                <a:hlinkClick r:id="rId6"/>
              </a:rPr>
              <a:t>https://docs.microsoft.com/en-us/azure/hdinsight/kafka/apache-kafka-introduction</a:t>
            </a:r>
            <a:endParaRPr lang="en-US" sz="2000" dirty="0"/>
          </a:p>
          <a:p>
            <a:pPr marL="0" indent="0">
              <a:buNone/>
            </a:pPr>
            <a:br>
              <a:rPr lang="en-US" sz="2000" dirty="0"/>
            </a:br>
            <a:r>
              <a:rPr lang="en-US" sz="2000" dirty="0" err="1"/>
              <a:t>IoTHub</a:t>
            </a:r>
            <a:r>
              <a:rPr lang="en-US" sz="2000" dirty="0"/>
              <a:t> Connector: </a:t>
            </a:r>
            <a:r>
              <a:rPr lang="en-US" sz="2000" dirty="0">
                <a:hlinkClick r:id="rId7"/>
              </a:rPr>
              <a:t>https://docs.microsoft.com/en-us/azure/hdinsight/kafka/apache-kafka-connector-iot-hub</a:t>
            </a:r>
            <a:endParaRPr lang="en-US" sz="2000" dirty="0"/>
          </a:p>
          <a:p>
            <a:pPr marL="0" indent="0">
              <a:buNone/>
            </a:pPr>
            <a:br>
              <a:rPr lang="en-US" sz="2000" dirty="0"/>
            </a:br>
            <a:r>
              <a:rPr lang="en-US" sz="2000" dirty="0"/>
              <a:t>Create BYOK clusters: </a:t>
            </a:r>
            <a:r>
              <a:rPr lang="en-US" sz="2000" dirty="0">
                <a:hlinkClick r:id="rId8"/>
              </a:rPr>
              <a:t>https://docs.microsoft.com/en-us/azure/hdinsight/kafka/apache-kafka-byok</a:t>
            </a:r>
            <a:endParaRPr lang="en-US" sz="2000" dirty="0"/>
          </a:p>
          <a:p>
            <a:pPr marL="0" indent="0">
              <a:buNone/>
            </a:pPr>
            <a:br>
              <a:rPr lang="en-US" sz="2000" dirty="0"/>
            </a:br>
            <a:r>
              <a:rPr lang="en-US" sz="2000" dirty="0"/>
              <a:t>Create HDInsight ESP clusters: </a:t>
            </a:r>
            <a:r>
              <a:rPr lang="en-US" sz="2000" dirty="0">
                <a:hlinkClick r:id="rId9"/>
              </a:rPr>
              <a:t>https://docs.microsoft.com/en-us/azure/hdinsight/domain-joined/apache-domain-joined-configure-using-azure-adds</a:t>
            </a:r>
            <a:endParaRPr lang="en-US" sz="2000" dirty="0"/>
          </a:p>
          <a:p>
            <a:pPr marL="0" indent="0">
              <a:buNone/>
            </a:pPr>
            <a:br>
              <a:rPr lang="en-US" sz="2000" dirty="0"/>
            </a:br>
            <a:r>
              <a:rPr lang="en-US" sz="2000" dirty="0"/>
              <a:t>Configure Ranger policies for Kafka: </a:t>
            </a:r>
            <a:r>
              <a:rPr lang="en-US" sz="2000" dirty="0">
                <a:hlinkClick r:id="rId10"/>
              </a:rPr>
              <a:t>https://docs.microsoft.com/en-us/azure/hdinsight/domain-joined/apache-domain-joined-run-kafka</a:t>
            </a:r>
            <a:endParaRPr lang="en-US" sz="2000" dirty="0"/>
          </a:p>
          <a:p>
            <a:pPr marL="0" indent="0">
              <a:buNone/>
            </a:pPr>
            <a:br>
              <a:rPr lang="en-US" sz="2000" dirty="0"/>
            </a:br>
            <a:r>
              <a:rPr lang="en-US" sz="2000" dirty="0"/>
              <a:t>Azure HDInsight Blog: </a:t>
            </a:r>
            <a:r>
              <a:rPr lang="en-US" sz="2000" dirty="0">
                <a:hlinkClick r:id="rId11"/>
              </a:rPr>
              <a:t>https://azure.microsoft.com/en-us/blog/tag/hdinsight/</a:t>
            </a:r>
            <a:endParaRPr lang="en-US" sz="2000" dirty="0"/>
          </a:p>
        </p:txBody>
      </p:sp>
    </p:spTree>
    <p:extLst>
      <p:ext uri="{BB962C8B-B14F-4D97-AF65-F5344CB8AC3E}">
        <p14:creationId xmlns:p14="http://schemas.microsoft.com/office/powerpoint/2010/main" val="265856970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7178-5D72-4F02-BA6B-8C48E9C332E0}"/>
              </a:ext>
            </a:extLst>
          </p:cNvPr>
          <p:cNvSpPr>
            <a:spLocks noGrp="1"/>
          </p:cNvSpPr>
          <p:nvPr>
            <p:ph type="title"/>
          </p:nvPr>
        </p:nvSpPr>
        <p:spPr>
          <a:xfrm>
            <a:off x="118295" y="89151"/>
            <a:ext cx="10514108" cy="1325375"/>
          </a:xfrm>
        </p:spPr>
        <p:txBody>
          <a:bodyPr>
            <a:normAutofit/>
          </a:bodyPr>
          <a:lstStyle/>
          <a:p>
            <a:r>
              <a:rPr lang="en-US" sz="4000"/>
              <a:t>HDI Kafka Customer Success</a:t>
            </a:r>
          </a:p>
        </p:txBody>
      </p:sp>
      <p:pic>
        <p:nvPicPr>
          <p:cNvPr id="8" name="Picture 2" descr="https://azurecomcdn.azureedge.net/mediahandler/acomblog/media/Default/blog/a5a7e242-6d34-4d43-8091-6f19cd664dea.png">
            <a:extLst>
              <a:ext uri="{FF2B5EF4-FFF2-40B4-BE49-F238E27FC236}">
                <a16:creationId xmlns:a16="http://schemas.microsoft.com/office/drawing/2014/main" id="{1832B211-0372-498F-81DC-EB2423B3A6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294" y="2613292"/>
            <a:ext cx="2820300" cy="180558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B793601A-CF82-4A7B-8D5E-DBF5ACCC2122}"/>
              </a:ext>
            </a:extLst>
          </p:cNvPr>
          <p:cNvSpPr/>
          <p:nvPr/>
        </p:nvSpPr>
        <p:spPr>
          <a:xfrm>
            <a:off x="3230535" y="2115904"/>
            <a:ext cx="8831988" cy="280076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Toyota manufactures millions of cars running globally, and building a connected car platform to process real-time data at Toyota scale is a monumental challenge. To process events at Toyota’s scale, technologies such as Kafka need to be leveraged. </a:t>
            </a:r>
            <a:r>
              <a:rPr kumimoji="0" lang="en-US" sz="1600" b="1"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ince HDInsight is the only managed platform that provides Kafka as a managed service with a 99.9% SLA, Toyota was able to leverage the scalable technology of Kafka, Storm and Spark on Azure HDInsight. Using the HDInsight platform, we were able to deploy enterprise grade streaming pipelines to process events from millions of cars every second. </a:t>
            </a:r>
            <a:r>
              <a:rPr kumimoji="0" lang="en-US" sz="1600" b="0"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This is just scratching the surface - the future of global connected cars on Azure HDInsight is bright, and we are excited for what's in sto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			--</a:t>
            </a:r>
            <a:r>
              <a:rPr kumimoji="0" lang="en-US" sz="1600" b="1" i="1"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Vijay Chemuturi, Chief Product Owner, Toyota Connected</a:t>
            </a:r>
            <a:endParaRPr kumimoji="0" lang="en-US" sz="1600"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ED1FF009-3D4F-41FB-A73C-B6E469060340}"/>
              </a:ext>
            </a:extLst>
          </p:cNvPr>
          <p:cNvSpPr/>
          <p:nvPr/>
        </p:nvSpPr>
        <p:spPr>
          <a:xfrm>
            <a:off x="568047" y="5894168"/>
            <a:ext cx="12774054" cy="3318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353535"/>
                </a:solidFill>
                <a:effectLst/>
                <a:uLnTx/>
                <a:uFillTx/>
                <a:latin typeface="Segoe UI Semilight"/>
                <a:ea typeface="+mn-ea"/>
                <a:cs typeface="+mn-cs"/>
                <a:hlinkClick r:id="rId4"/>
              </a:rPr>
              <a:t>https://azure.microsoft.com/en-us/blog/announcing-public-preview-of-apache-kafka-on-hdinsight-with-azure-managed-disks</a:t>
            </a:r>
            <a:r>
              <a:rPr kumimoji="0" lang="en-US" sz="1568" b="0" i="0" u="none" strike="noStrike" kern="1200" cap="none" spc="0" normalizeH="0" baseline="0" noProof="0">
                <a:ln>
                  <a:noFill/>
                </a:ln>
                <a:solidFill>
                  <a:srgbClr val="353535"/>
                </a:solidFill>
                <a:effectLst/>
                <a:uLnTx/>
                <a:uFillTx/>
                <a:latin typeface="Segoe UI Semilight"/>
                <a:ea typeface="+mn-ea"/>
                <a:cs typeface="+mn-cs"/>
              </a:rPr>
              <a:t> </a:t>
            </a:r>
          </a:p>
        </p:txBody>
      </p:sp>
    </p:spTree>
    <p:extLst>
      <p:ext uri="{BB962C8B-B14F-4D97-AF65-F5344CB8AC3E}">
        <p14:creationId xmlns:p14="http://schemas.microsoft.com/office/powerpoint/2010/main" val="142481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16">
            <a:extLst>
              <a:ext uri="{FF2B5EF4-FFF2-40B4-BE49-F238E27FC236}">
                <a16:creationId xmlns:a16="http://schemas.microsoft.com/office/drawing/2014/main" id="{C0C17D46-3889-4D0C-89D8-01C69F0F84EF}"/>
              </a:ext>
            </a:extLst>
          </p:cNvPr>
          <p:cNvSpPr>
            <a:spLocks noChangeArrowheads="1"/>
          </p:cNvSpPr>
          <p:nvPr/>
        </p:nvSpPr>
        <p:spPr bwMode="auto">
          <a:xfrm>
            <a:off x="4099651" y="2500697"/>
            <a:ext cx="4985029" cy="3121407"/>
          </a:xfrm>
          <a:prstGeom prst="rect">
            <a:avLst/>
          </a:prstGeom>
          <a:noFill/>
          <a:ln>
            <a:solidFill>
              <a:schemeClr val="tx1">
                <a:alpha val="59000"/>
              </a:schemeClr>
            </a:solidFill>
            <a:prstDash val="lgDashDotDot"/>
          </a:ln>
          <a:effectLst>
            <a:glow rad="101600">
              <a:schemeClr val="tx1">
                <a:lumMod val="60000"/>
                <a:lumOff val="40000"/>
                <a:alpha val="40000"/>
              </a:schemeClr>
            </a:glow>
          </a:effectLst>
        </p:spPr>
        <p:style>
          <a:lnRef idx="0">
            <a:scrgbClr r="0" g="0" b="0"/>
          </a:lnRef>
          <a:fillRef idx="0">
            <a:scrgbClr r="0" g="0" b="0"/>
          </a:fillRef>
          <a:effectRef idx="0">
            <a:scrgbClr r="0" g="0" b="0"/>
          </a:effectRef>
          <a:fontRef idx="minor">
            <a:schemeClr val="lt1"/>
          </a:fontRef>
        </p:style>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C000">
                  <a:lumMod val="25000"/>
                </a:srgbClr>
              </a:solidFill>
              <a:effectLst/>
              <a:uLnTx/>
              <a:uFillTx/>
              <a:latin typeface="Calibri" panose="020F0502020204030204"/>
              <a:ea typeface="+mn-ea"/>
              <a:cs typeface="+mn-cs"/>
            </a:endParaRPr>
          </a:p>
        </p:txBody>
      </p:sp>
      <p:pic>
        <p:nvPicPr>
          <p:cNvPr id="17" name="Picture 16" descr="Connected Car Icon">
            <a:extLst>
              <a:ext uri="{FF2B5EF4-FFF2-40B4-BE49-F238E27FC236}">
                <a16:creationId xmlns:a16="http://schemas.microsoft.com/office/drawing/2014/main" id="{18D6D514-F31D-425D-8050-5938FA239BC0}"/>
              </a:ext>
            </a:extLst>
          </p:cNvPr>
          <p:cNvPicPr>
            <a:picLocks noChangeAspect="1"/>
          </p:cNvPicPr>
          <p:nvPr/>
        </p:nvPicPr>
        <p:blipFill>
          <a:blip r:embed="rId3"/>
          <a:stretch>
            <a:fillRect/>
          </a:stretch>
        </p:blipFill>
        <p:spPr>
          <a:xfrm>
            <a:off x="489240" y="4102958"/>
            <a:ext cx="925688" cy="925688"/>
          </a:xfrm>
          <a:prstGeom prst="rect">
            <a:avLst/>
          </a:prstGeom>
        </p:spPr>
      </p:pic>
      <p:sp>
        <p:nvSpPr>
          <p:cNvPr id="10" name="Rectangle 9"/>
          <p:cNvSpPr/>
          <p:nvPr/>
        </p:nvSpPr>
        <p:spPr>
          <a:xfrm>
            <a:off x="1901115" y="464220"/>
            <a:ext cx="8753470" cy="523146"/>
          </a:xfrm>
          <a:prstGeom prst="rect">
            <a:avLst/>
          </a:prstGeom>
          <a:solidFill>
            <a:schemeClr val="accent1">
              <a:lumMod val="50000"/>
              <a:alpha val="80000"/>
            </a:schemeClr>
          </a:solid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nected Car Architecture powered by Azure HDInsight</a:t>
            </a:r>
          </a:p>
        </p:txBody>
      </p:sp>
      <p:cxnSp>
        <p:nvCxnSpPr>
          <p:cNvPr id="50" name="Straight Arrow Connector 49"/>
          <p:cNvCxnSpPr>
            <a:cxnSpLocks/>
          </p:cNvCxnSpPr>
          <p:nvPr/>
        </p:nvCxnSpPr>
        <p:spPr>
          <a:xfrm>
            <a:off x="8999147" y="4226542"/>
            <a:ext cx="4248" cy="459371"/>
          </a:xfrm>
          <a:prstGeom prst="straightConnector1">
            <a:avLst/>
          </a:prstGeom>
          <a:ln w="9525">
            <a:solidFill>
              <a:schemeClr val="bg1">
                <a:lumMod val="95000"/>
              </a:schemeClr>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4" name="Picture 13" descr="Connected Car Icon">
            <a:extLst>
              <a:ext uri="{FF2B5EF4-FFF2-40B4-BE49-F238E27FC236}">
                <a16:creationId xmlns:a16="http://schemas.microsoft.com/office/drawing/2014/main" id="{813B3F7D-AD7A-4F10-A8C2-9611333DF996}"/>
              </a:ext>
            </a:extLst>
          </p:cNvPr>
          <p:cNvPicPr>
            <a:picLocks noChangeAspect="1"/>
          </p:cNvPicPr>
          <p:nvPr/>
        </p:nvPicPr>
        <p:blipFill>
          <a:blip r:embed="rId3"/>
          <a:stretch>
            <a:fillRect/>
          </a:stretch>
        </p:blipFill>
        <p:spPr>
          <a:xfrm>
            <a:off x="569634" y="3456762"/>
            <a:ext cx="772169" cy="772169"/>
          </a:xfrm>
          <a:prstGeom prst="rect">
            <a:avLst/>
          </a:prstGeom>
        </p:spPr>
      </p:pic>
      <p:pic>
        <p:nvPicPr>
          <p:cNvPr id="18" name="Picture 17" descr="Connected Car Icon">
            <a:extLst>
              <a:ext uri="{FF2B5EF4-FFF2-40B4-BE49-F238E27FC236}">
                <a16:creationId xmlns:a16="http://schemas.microsoft.com/office/drawing/2014/main" id="{50A8EA51-3619-4E98-B457-5C40BEA0B09B}"/>
              </a:ext>
            </a:extLst>
          </p:cNvPr>
          <p:cNvPicPr>
            <a:picLocks noChangeAspect="1"/>
          </p:cNvPicPr>
          <p:nvPr/>
        </p:nvPicPr>
        <p:blipFill>
          <a:blip r:embed="rId3"/>
          <a:stretch>
            <a:fillRect/>
          </a:stretch>
        </p:blipFill>
        <p:spPr>
          <a:xfrm>
            <a:off x="866" y="3793633"/>
            <a:ext cx="772169" cy="772169"/>
          </a:xfrm>
          <a:prstGeom prst="rect">
            <a:avLst/>
          </a:prstGeom>
        </p:spPr>
      </p:pic>
      <p:pic>
        <p:nvPicPr>
          <p:cNvPr id="12" name="Picture 11">
            <a:extLst>
              <a:ext uri="{FF2B5EF4-FFF2-40B4-BE49-F238E27FC236}">
                <a16:creationId xmlns:a16="http://schemas.microsoft.com/office/drawing/2014/main" id="{C1A18AB9-2761-4707-93B1-E2DF44925424}"/>
              </a:ext>
            </a:extLst>
          </p:cNvPr>
          <p:cNvPicPr>
            <a:picLocks noChangeAspect="1"/>
          </p:cNvPicPr>
          <p:nvPr/>
        </p:nvPicPr>
        <p:blipFill>
          <a:blip r:embed="rId4"/>
          <a:stretch>
            <a:fillRect/>
          </a:stretch>
        </p:blipFill>
        <p:spPr>
          <a:xfrm>
            <a:off x="2172697" y="2714042"/>
            <a:ext cx="1111008" cy="1851760"/>
          </a:xfrm>
          <a:prstGeom prst="rect">
            <a:avLst/>
          </a:prstGeom>
        </p:spPr>
      </p:pic>
      <p:pic>
        <p:nvPicPr>
          <p:cNvPr id="24" name="Picture 2" descr="Image result for apache storm logo">
            <a:extLst>
              <a:ext uri="{FF2B5EF4-FFF2-40B4-BE49-F238E27FC236}">
                <a16:creationId xmlns:a16="http://schemas.microsoft.com/office/drawing/2014/main" id="{4AE70F6B-D34B-4352-85AD-4404A4058C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70984" y="2925221"/>
            <a:ext cx="2302747" cy="840503"/>
          </a:xfrm>
          <a:prstGeom prst="rect">
            <a:avLst/>
          </a:prstGeom>
          <a:noFill/>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0DE038DC-63CF-4330-970B-C6B20B97878D}"/>
              </a:ext>
            </a:extLst>
          </p:cNvPr>
          <p:cNvSpPr txBox="1"/>
          <p:nvPr/>
        </p:nvSpPr>
        <p:spPr>
          <a:xfrm>
            <a:off x="4834723" y="5140666"/>
            <a:ext cx="3514886" cy="16620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FFC000">
                    <a:lumMod val="25000"/>
                  </a:srgbClr>
                </a:solidFill>
                <a:effectLst/>
                <a:uLnTx/>
                <a:uFillTx/>
                <a:latin typeface="Segoe UI" panose="020B0502040204020203" pitchFamily="34" charset="0"/>
                <a:ea typeface="+mn-ea"/>
                <a:cs typeface="Segoe UI" panose="020B0502040204020203" pitchFamily="34" charset="0"/>
              </a:rPr>
              <a:t>Open source Stream Processing on Azure HDInsight</a:t>
            </a:r>
          </a:p>
        </p:txBody>
      </p:sp>
      <p:pic>
        <p:nvPicPr>
          <p:cNvPr id="28" name="Picture 4" descr="Image result for hdinsight icon transparent">
            <a:extLst>
              <a:ext uri="{FF2B5EF4-FFF2-40B4-BE49-F238E27FC236}">
                <a16:creationId xmlns:a16="http://schemas.microsoft.com/office/drawing/2014/main" id="{54AF12BB-D1EE-4465-AF2B-EDEB84C9D5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2128" y="4859475"/>
            <a:ext cx="919564" cy="50192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kafka icon">
            <a:extLst>
              <a:ext uri="{FF2B5EF4-FFF2-40B4-BE49-F238E27FC236}">
                <a16:creationId xmlns:a16="http://schemas.microsoft.com/office/drawing/2014/main" id="{C104A907-BE48-475C-9134-9CA9578BFB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70959" y="2929448"/>
            <a:ext cx="1395923" cy="151961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24438DE5-74AA-4109-9163-B729D8E9C730}"/>
              </a:ext>
            </a:extLst>
          </p:cNvPr>
          <p:cNvPicPr>
            <a:picLocks noChangeAspect="1"/>
          </p:cNvPicPr>
          <p:nvPr/>
        </p:nvPicPr>
        <p:blipFill>
          <a:blip r:embed="rId8"/>
          <a:stretch>
            <a:fillRect/>
          </a:stretch>
        </p:blipFill>
        <p:spPr>
          <a:xfrm>
            <a:off x="10386125" y="3414824"/>
            <a:ext cx="857889" cy="856044"/>
          </a:xfrm>
          <a:prstGeom prst="rect">
            <a:avLst/>
          </a:prstGeom>
          <a:effectLst>
            <a:outerShdw blurRad="50800" dist="38100" dir="5400000" algn="t" rotWithShape="0">
              <a:prstClr val="black">
                <a:alpha val="40000"/>
              </a:prstClr>
            </a:outerShdw>
          </a:effectLst>
        </p:spPr>
      </p:pic>
      <p:pic>
        <p:nvPicPr>
          <p:cNvPr id="39" name="Picture 38">
            <a:extLst>
              <a:ext uri="{FF2B5EF4-FFF2-40B4-BE49-F238E27FC236}">
                <a16:creationId xmlns:a16="http://schemas.microsoft.com/office/drawing/2014/main" id="{42F7DB30-716C-4212-A2FE-86532ABFB7A8}"/>
              </a:ext>
            </a:extLst>
          </p:cNvPr>
          <p:cNvPicPr>
            <a:picLocks noChangeAspect="1"/>
          </p:cNvPicPr>
          <p:nvPr/>
        </p:nvPicPr>
        <p:blipFill>
          <a:blip r:embed="rId9"/>
          <a:stretch>
            <a:fillRect/>
          </a:stretch>
        </p:blipFill>
        <p:spPr>
          <a:xfrm>
            <a:off x="10355797" y="1812143"/>
            <a:ext cx="1000245" cy="824511"/>
          </a:xfrm>
          <a:prstGeom prst="rect">
            <a:avLst/>
          </a:prstGeom>
          <a:effectLst>
            <a:outerShdw blurRad="50800" dist="38100" dir="5400000" algn="t" rotWithShape="0">
              <a:prstClr val="black">
                <a:alpha val="40000"/>
              </a:prstClr>
            </a:outerShdw>
          </a:effectLst>
        </p:spPr>
      </p:pic>
      <p:pic>
        <p:nvPicPr>
          <p:cNvPr id="46" name="Picture 45" descr="Connected Car Icon">
            <a:extLst>
              <a:ext uri="{FF2B5EF4-FFF2-40B4-BE49-F238E27FC236}">
                <a16:creationId xmlns:a16="http://schemas.microsoft.com/office/drawing/2014/main" id="{658704CC-8808-4104-950A-795DC3378652}"/>
              </a:ext>
            </a:extLst>
          </p:cNvPr>
          <p:cNvPicPr>
            <a:picLocks noChangeAspect="1"/>
          </p:cNvPicPr>
          <p:nvPr/>
        </p:nvPicPr>
        <p:blipFill>
          <a:blip r:embed="rId3"/>
          <a:stretch>
            <a:fillRect/>
          </a:stretch>
        </p:blipFill>
        <p:spPr>
          <a:xfrm>
            <a:off x="131488" y="3299441"/>
            <a:ext cx="579903" cy="579903"/>
          </a:xfrm>
          <a:prstGeom prst="rect">
            <a:avLst/>
          </a:prstGeom>
        </p:spPr>
      </p:pic>
      <p:pic>
        <p:nvPicPr>
          <p:cNvPr id="41" name="Picture 40">
            <a:extLst>
              <a:ext uri="{FF2B5EF4-FFF2-40B4-BE49-F238E27FC236}">
                <a16:creationId xmlns:a16="http://schemas.microsoft.com/office/drawing/2014/main" id="{C040F6C0-096E-419A-A016-8CF1F4000F36}"/>
              </a:ext>
            </a:extLst>
          </p:cNvPr>
          <p:cNvPicPr>
            <a:picLocks noChangeAspect="1"/>
          </p:cNvPicPr>
          <p:nvPr/>
        </p:nvPicPr>
        <p:blipFill>
          <a:blip r:embed="rId10"/>
          <a:stretch>
            <a:fillRect/>
          </a:stretch>
        </p:blipFill>
        <p:spPr>
          <a:xfrm>
            <a:off x="10514510" y="4715791"/>
            <a:ext cx="812874" cy="849750"/>
          </a:xfrm>
          <a:prstGeom prst="rect">
            <a:avLst/>
          </a:prstGeom>
          <a:effectLst>
            <a:outerShdw blurRad="50800" dist="38100" dir="5400000" algn="t" rotWithShape="0">
              <a:prstClr val="black">
                <a:alpha val="40000"/>
              </a:prstClr>
            </a:outerShdw>
          </a:effectLst>
        </p:spPr>
      </p:pic>
      <p:sp>
        <p:nvSpPr>
          <p:cNvPr id="51" name="TextBox 50">
            <a:extLst>
              <a:ext uri="{FF2B5EF4-FFF2-40B4-BE49-F238E27FC236}">
                <a16:creationId xmlns:a16="http://schemas.microsoft.com/office/drawing/2014/main" id="{AD48A236-AB38-4EA9-8640-950D967D53AF}"/>
              </a:ext>
            </a:extLst>
          </p:cNvPr>
          <p:cNvSpPr txBox="1"/>
          <p:nvPr/>
        </p:nvSpPr>
        <p:spPr>
          <a:xfrm>
            <a:off x="10105135" y="4350665"/>
            <a:ext cx="1631626" cy="18003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300" b="0" i="0" u="none" strike="noStrike" kern="0" cap="none" spc="0" normalizeH="0" baseline="0" noProof="0">
                <a:ln>
                  <a:noFill/>
                </a:ln>
                <a:solidFill>
                  <a:srgbClr val="FFC000">
                    <a:lumMod val="25000"/>
                  </a:srgbClr>
                </a:solidFill>
                <a:effectLst/>
                <a:uLnTx/>
                <a:uFillTx/>
                <a:latin typeface="Segoe UI" panose="020B0502040204020203" pitchFamily="34" charset="0"/>
                <a:ea typeface="+mn-ea"/>
                <a:cs typeface="Segoe UI" panose="020B0502040204020203" pitchFamily="34" charset="0"/>
              </a:rPr>
              <a:t>Real-time applications</a:t>
            </a:r>
          </a:p>
        </p:txBody>
      </p:sp>
      <p:cxnSp>
        <p:nvCxnSpPr>
          <p:cNvPr id="47" name="Straight Arrow Connector 46">
            <a:extLst>
              <a:ext uri="{FF2B5EF4-FFF2-40B4-BE49-F238E27FC236}">
                <a16:creationId xmlns:a16="http://schemas.microsoft.com/office/drawing/2014/main" id="{883F9C3F-C461-4497-81EF-1CB3C7C33F26}"/>
              </a:ext>
            </a:extLst>
          </p:cNvPr>
          <p:cNvCxnSpPr>
            <a:cxnSpLocks/>
          </p:cNvCxnSpPr>
          <p:nvPr/>
        </p:nvCxnSpPr>
        <p:spPr>
          <a:xfrm>
            <a:off x="1341803" y="4168173"/>
            <a:ext cx="889071"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511BFB31-91DF-4657-8504-C4857FBC9552}"/>
              </a:ext>
            </a:extLst>
          </p:cNvPr>
          <p:cNvCxnSpPr>
            <a:cxnSpLocks/>
          </p:cNvCxnSpPr>
          <p:nvPr/>
        </p:nvCxnSpPr>
        <p:spPr>
          <a:xfrm>
            <a:off x="3143911" y="4151082"/>
            <a:ext cx="793521"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28D386F2-81FA-46EC-A2E4-F2EDB0DD00DF}"/>
              </a:ext>
            </a:extLst>
          </p:cNvPr>
          <p:cNvCxnSpPr>
            <a:cxnSpLocks/>
          </p:cNvCxnSpPr>
          <p:nvPr/>
        </p:nvCxnSpPr>
        <p:spPr>
          <a:xfrm flipV="1">
            <a:off x="9221692" y="2575427"/>
            <a:ext cx="898301" cy="63214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7" name="Straight Arrow Connector 56">
            <a:extLst>
              <a:ext uri="{FF2B5EF4-FFF2-40B4-BE49-F238E27FC236}">
                <a16:creationId xmlns:a16="http://schemas.microsoft.com/office/drawing/2014/main" id="{DA364656-937A-4029-833F-C47BC0A088A0}"/>
              </a:ext>
            </a:extLst>
          </p:cNvPr>
          <p:cNvCxnSpPr>
            <a:cxnSpLocks/>
          </p:cNvCxnSpPr>
          <p:nvPr/>
        </p:nvCxnSpPr>
        <p:spPr>
          <a:xfrm>
            <a:off x="9231491" y="4151082"/>
            <a:ext cx="888503"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C5A0D2DD-94D1-462B-992F-8AA050215E4E}"/>
              </a:ext>
            </a:extLst>
          </p:cNvPr>
          <p:cNvCxnSpPr>
            <a:cxnSpLocks/>
          </p:cNvCxnSpPr>
          <p:nvPr/>
        </p:nvCxnSpPr>
        <p:spPr>
          <a:xfrm>
            <a:off x="9221692" y="4844894"/>
            <a:ext cx="992512" cy="46194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65" name="TextBox 64">
            <a:extLst>
              <a:ext uri="{FF2B5EF4-FFF2-40B4-BE49-F238E27FC236}">
                <a16:creationId xmlns:a16="http://schemas.microsoft.com/office/drawing/2014/main" id="{26C25CBF-8A4D-4360-8A1B-458C3C0652F8}"/>
              </a:ext>
            </a:extLst>
          </p:cNvPr>
          <p:cNvSpPr txBox="1"/>
          <p:nvPr/>
        </p:nvSpPr>
        <p:spPr>
          <a:xfrm>
            <a:off x="10214205" y="2845734"/>
            <a:ext cx="1354346" cy="18003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300" b="0" i="0" u="none" strike="noStrike" kern="0" cap="none" spc="0" normalizeH="0" baseline="0" noProof="0">
                <a:ln>
                  <a:noFill/>
                </a:ln>
                <a:solidFill>
                  <a:srgbClr val="FFC000">
                    <a:lumMod val="25000"/>
                  </a:srgbClr>
                </a:solidFill>
                <a:effectLst/>
                <a:uLnTx/>
                <a:uFillTx/>
                <a:latin typeface="Segoe UI" panose="020B0502040204020203" pitchFamily="34" charset="0"/>
                <a:ea typeface="+mn-ea"/>
                <a:cs typeface="Segoe UI" panose="020B0502040204020203" pitchFamily="34" charset="0"/>
              </a:rPr>
              <a:t>Long term storage</a:t>
            </a:r>
          </a:p>
        </p:txBody>
      </p:sp>
      <p:sp>
        <p:nvSpPr>
          <p:cNvPr id="66" name="TextBox 65">
            <a:extLst>
              <a:ext uri="{FF2B5EF4-FFF2-40B4-BE49-F238E27FC236}">
                <a16:creationId xmlns:a16="http://schemas.microsoft.com/office/drawing/2014/main" id="{6B4532B7-4A86-448F-B818-E77AFA496FB0}"/>
              </a:ext>
            </a:extLst>
          </p:cNvPr>
          <p:cNvSpPr txBox="1"/>
          <p:nvPr/>
        </p:nvSpPr>
        <p:spPr>
          <a:xfrm>
            <a:off x="10214203" y="5622104"/>
            <a:ext cx="1604379" cy="18003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300" b="0" i="0" u="none" strike="noStrike" kern="0" cap="none" spc="0" normalizeH="0" baseline="0" noProof="0">
                <a:ln>
                  <a:noFill/>
                </a:ln>
                <a:solidFill>
                  <a:srgbClr val="FFC000">
                    <a:lumMod val="25000"/>
                  </a:srgbClr>
                </a:solidFill>
                <a:effectLst/>
                <a:uLnTx/>
                <a:uFillTx/>
                <a:latin typeface="Segoe UI" panose="020B0502040204020203" pitchFamily="34" charset="0"/>
                <a:ea typeface="+mn-ea"/>
                <a:cs typeface="Segoe UI" panose="020B0502040204020203" pitchFamily="34" charset="0"/>
              </a:rPr>
              <a:t>Real-time dashboards</a:t>
            </a:r>
          </a:p>
        </p:txBody>
      </p:sp>
      <p:pic>
        <p:nvPicPr>
          <p:cNvPr id="1026" name="Picture 2" descr="Image result for apache spark logo transparent">
            <a:extLst>
              <a:ext uri="{FF2B5EF4-FFF2-40B4-BE49-F238E27FC236}">
                <a16:creationId xmlns:a16="http://schemas.microsoft.com/office/drawing/2014/main" id="{A4A5FE79-54F7-49F3-A5CE-407282490E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2366" y="3738511"/>
            <a:ext cx="1697491" cy="88344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hackdfw.com/images/partners/toyota-connected.png">
            <a:extLst>
              <a:ext uri="{FF2B5EF4-FFF2-40B4-BE49-F238E27FC236}">
                <a16:creationId xmlns:a16="http://schemas.microsoft.com/office/drawing/2014/main" id="{9F1F3AE1-9F5D-42BA-B24E-09712DD625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5642" y="156676"/>
            <a:ext cx="1112449" cy="170297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microsoft logo">
            <a:extLst>
              <a:ext uri="{FF2B5EF4-FFF2-40B4-BE49-F238E27FC236}">
                <a16:creationId xmlns:a16="http://schemas.microsoft.com/office/drawing/2014/main" id="{58F172E6-D12F-40C2-8249-645CEDB26C9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837703" y="-379270"/>
            <a:ext cx="2761639" cy="2071230"/>
          </a:xfrm>
          <a:prstGeom prst="rect">
            <a:avLst/>
          </a:prstGeom>
          <a:noFill/>
          <a:extLst>
            <a:ext uri="{909E8E84-426E-40DD-AFC4-6F175D3DCCD1}">
              <a14:hiddenFill xmlns:a14="http://schemas.microsoft.com/office/drawing/2010/main">
                <a:solidFill>
                  <a:srgbClr val="FFFFFF"/>
                </a:solidFill>
              </a14:hiddenFill>
            </a:ext>
          </a:extLst>
        </p:spPr>
      </p:pic>
      <p:sp>
        <p:nvSpPr>
          <p:cNvPr id="29" name="Freeform 92">
            <a:extLst>
              <a:ext uri="{FF2B5EF4-FFF2-40B4-BE49-F238E27FC236}">
                <a16:creationId xmlns:a16="http://schemas.microsoft.com/office/drawing/2014/main" id="{3267B7E7-FCDB-4CDA-BC30-8C218330B0E7}"/>
              </a:ext>
            </a:extLst>
          </p:cNvPr>
          <p:cNvSpPr>
            <a:spLocks noChangeAspect="1"/>
          </p:cNvSpPr>
          <p:nvPr/>
        </p:nvSpPr>
        <p:spPr bwMode="auto">
          <a:xfrm rot="5280000">
            <a:off x="2456705" y="4650472"/>
            <a:ext cx="438414" cy="55747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06" rIns="0" bIns="45706" numCol="1" rtlCol="0" anchor="ctr" anchorCtr="0" compatLnSpc="1">
            <a:prstTxWarp prst="textNoShape">
              <a:avLst/>
            </a:prstTxWarp>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0BCF2">
                  <a:lumMod val="25000"/>
                </a:srgbClr>
              </a:solidFill>
              <a:effectLst/>
              <a:uLnTx/>
              <a:uFillTx/>
              <a:latin typeface="Segoe UI"/>
              <a:ea typeface="+mn-ea"/>
              <a:cs typeface="+mn-cs"/>
            </a:endParaRPr>
          </a:p>
        </p:txBody>
      </p:sp>
      <p:sp>
        <p:nvSpPr>
          <p:cNvPr id="30" name="Oval 29">
            <a:extLst>
              <a:ext uri="{FF2B5EF4-FFF2-40B4-BE49-F238E27FC236}">
                <a16:creationId xmlns:a16="http://schemas.microsoft.com/office/drawing/2014/main" id="{A621CE34-F6BA-46C5-BA4E-BED9A092A2CB}"/>
              </a:ext>
            </a:extLst>
          </p:cNvPr>
          <p:cNvSpPr/>
          <p:nvPr/>
        </p:nvSpPr>
        <p:spPr bwMode="auto">
          <a:xfrm>
            <a:off x="2191516" y="5267326"/>
            <a:ext cx="911933" cy="358769"/>
          </a:xfrm>
          <a:prstGeom prst="ellipse">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0" tIns="44808" rIns="0"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77" b="0" i="0" u="none" strike="noStrike" kern="0" cap="none" spc="0" normalizeH="0" baseline="0" noProof="0">
                <a:ln>
                  <a:noFill/>
                </a:ln>
                <a:solidFill>
                  <a:srgbClr val="00BCF2">
                    <a:lumMod val="25000"/>
                  </a:srgbClr>
                </a:solidFill>
                <a:effectLst/>
                <a:uLnTx/>
                <a:uFillTx/>
                <a:latin typeface="Segoe UI Semilight"/>
                <a:ea typeface="Segoe UI" pitchFamily="34" charset="0"/>
                <a:cs typeface="Segoe UI" pitchFamily="34" charset="0"/>
              </a:rPr>
              <a:t>IoT Hubs</a:t>
            </a:r>
          </a:p>
        </p:txBody>
      </p:sp>
      <p:sp>
        <p:nvSpPr>
          <p:cNvPr id="31" name="Freeform 8">
            <a:extLst>
              <a:ext uri="{FF2B5EF4-FFF2-40B4-BE49-F238E27FC236}">
                <a16:creationId xmlns:a16="http://schemas.microsoft.com/office/drawing/2014/main" id="{8539DF93-DE4F-450D-B18D-497105708465}"/>
              </a:ext>
            </a:extLst>
          </p:cNvPr>
          <p:cNvSpPr>
            <a:spLocks noEditPoints="1"/>
          </p:cNvSpPr>
          <p:nvPr/>
        </p:nvSpPr>
        <p:spPr bwMode="auto">
          <a:xfrm>
            <a:off x="8394166" y="5477856"/>
            <a:ext cx="531035" cy="274599"/>
          </a:xfrm>
          <a:custGeom>
            <a:avLst/>
            <a:gdLst>
              <a:gd name="T0" fmla="*/ 0 w 407"/>
              <a:gd name="T1" fmla="*/ 110 h 221"/>
              <a:gd name="T2" fmla="*/ 110 w 407"/>
              <a:gd name="T3" fmla="*/ 221 h 221"/>
              <a:gd name="T4" fmla="*/ 124 w 407"/>
              <a:gd name="T5" fmla="*/ 206 h 221"/>
              <a:gd name="T6" fmla="*/ 28 w 407"/>
              <a:gd name="T7" fmla="*/ 110 h 221"/>
              <a:gd name="T8" fmla="*/ 124 w 407"/>
              <a:gd name="T9" fmla="*/ 14 h 221"/>
              <a:gd name="T10" fmla="*/ 110 w 407"/>
              <a:gd name="T11" fmla="*/ 0 h 221"/>
              <a:gd name="T12" fmla="*/ 0 w 407"/>
              <a:gd name="T13" fmla="*/ 110 h 221"/>
              <a:gd name="T14" fmla="*/ 407 w 407"/>
              <a:gd name="T15" fmla="*/ 110 h 221"/>
              <a:gd name="T16" fmla="*/ 297 w 407"/>
              <a:gd name="T17" fmla="*/ 0 h 221"/>
              <a:gd name="T18" fmla="*/ 283 w 407"/>
              <a:gd name="T19" fmla="*/ 14 h 221"/>
              <a:gd name="T20" fmla="*/ 379 w 407"/>
              <a:gd name="T21" fmla="*/ 110 h 221"/>
              <a:gd name="T22" fmla="*/ 283 w 407"/>
              <a:gd name="T23" fmla="*/ 206 h 221"/>
              <a:gd name="T24" fmla="*/ 297 w 407"/>
              <a:gd name="T25" fmla="*/ 221 h 221"/>
              <a:gd name="T26" fmla="*/ 407 w 407"/>
              <a:gd name="T27" fmla="*/ 110 h 221"/>
              <a:gd name="T28" fmla="*/ 303 w 407"/>
              <a:gd name="T29" fmla="*/ 110 h 221"/>
              <a:gd name="T30" fmla="*/ 278 w 407"/>
              <a:gd name="T31" fmla="*/ 86 h 221"/>
              <a:gd name="T32" fmla="*/ 254 w 407"/>
              <a:gd name="T33" fmla="*/ 110 h 221"/>
              <a:gd name="T34" fmla="*/ 278 w 407"/>
              <a:gd name="T35" fmla="*/ 135 h 221"/>
              <a:gd name="T36" fmla="*/ 303 w 407"/>
              <a:gd name="T37" fmla="*/ 110 h 221"/>
              <a:gd name="T38" fmla="*/ 130 w 407"/>
              <a:gd name="T39" fmla="*/ 135 h 221"/>
              <a:gd name="T40" fmla="*/ 155 w 407"/>
              <a:gd name="T41" fmla="*/ 110 h 221"/>
              <a:gd name="T42" fmla="*/ 130 w 407"/>
              <a:gd name="T43" fmla="*/ 86 h 221"/>
              <a:gd name="T44" fmla="*/ 105 w 407"/>
              <a:gd name="T45" fmla="*/ 110 h 221"/>
              <a:gd name="T46" fmla="*/ 130 w 407"/>
              <a:gd name="T47" fmla="*/ 135 h 221"/>
              <a:gd name="T48" fmla="*/ 229 w 407"/>
              <a:gd name="T49" fmla="*/ 110 h 221"/>
              <a:gd name="T50" fmla="*/ 204 w 407"/>
              <a:gd name="T51" fmla="*/ 86 h 221"/>
              <a:gd name="T52" fmla="*/ 179 w 407"/>
              <a:gd name="T53" fmla="*/ 110 h 221"/>
              <a:gd name="T54" fmla="*/ 204 w 407"/>
              <a:gd name="T55" fmla="*/ 135 h 221"/>
              <a:gd name="T56" fmla="*/ 229 w 407"/>
              <a:gd name="T5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7" h="221">
                <a:moveTo>
                  <a:pt x="0" y="110"/>
                </a:moveTo>
                <a:lnTo>
                  <a:pt x="110" y="221"/>
                </a:lnTo>
                <a:lnTo>
                  <a:pt x="124" y="206"/>
                </a:lnTo>
                <a:lnTo>
                  <a:pt x="28" y="110"/>
                </a:lnTo>
                <a:lnTo>
                  <a:pt x="124" y="14"/>
                </a:lnTo>
                <a:lnTo>
                  <a:pt x="110" y="0"/>
                </a:lnTo>
                <a:lnTo>
                  <a:pt x="0" y="110"/>
                </a:lnTo>
                <a:close/>
                <a:moveTo>
                  <a:pt x="407" y="110"/>
                </a:moveTo>
                <a:lnTo>
                  <a:pt x="297" y="0"/>
                </a:lnTo>
                <a:lnTo>
                  <a:pt x="283" y="14"/>
                </a:lnTo>
                <a:lnTo>
                  <a:pt x="379" y="110"/>
                </a:lnTo>
                <a:lnTo>
                  <a:pt x="283" y="206"/>
                </a:lnTo>
                <a:lnTo>
                  <a:pt x="297" y="221"/>
                </a:lnTo>
                <a:lnTo>
                  <a:pt x="407" y="110"/>
                </a:lnTo>
                <a:close/>
                <a:moveTo>
                  <a:pt x="303" y="110"/>
                </a:moveTo>
                <a:cubicBezTo>
                  <a:pt x="303" y="97"/>
                  <a:pt x="292" y="86"/>
                  <a:pt x="278" y="86"/>
                </a:cubicBezTo>
                <a:cubicBezTo>
                  <a:pt x="265" y="86"/>
                  <a:pt x="254" y="97"/>
                  <a:pt x="254" y="110"/>
                </a:cubicBezTo>
                <a:cubicBezTo>
                  <a:pt x="254" y="124"/>
                  <a:pt x="265" y="135"/>
                  <a:pt x="278" y="135"/>
                </a:cubicBezTo>
                <a:cubicBezTo>
                  <a:pt x="292" y="135"/>
                  <a:pt x="303" y="124"/>
                  <a:pt x="303" y="110"/>
                </a:cubicBezTo>
                <a:close/>
                <a:moveTo>
                  <a:pt x="130" y="135"/>
                </a:moveTo>
                <a:cubicBezTo>
                  <a:pt x="143" y="135"/>
                  <a:pt x="155" y="124"/>
                  <a:pt x="155" y="110"/>
                </a:cubicBezTo>
                <a:cubicBezTo>
                  <a:pt x="155" y="96"/>
                  <a:pt x="143" y="86"/>
                  <a:pt x="130" y="86"/>
                </a:cubicBezTo>
                <a:cubicBezTo>
                  <a:pt x="116" y="86"/>
                  <a:pt x="105" y="97"/>
                  <a:pt x="105" y="110"/>
                </a:cubicBezTo>
                <a:cubicBezTo>
                  <a:pt x="105" y="124"/>
                  <a:pt x="115" y="135"/>
                  <a:pt x="130" y="135"/>
                </a:cubicBezTo>
                <a:close/>
                <a:moveTo>
                  <a:pt x="229" y="110"/>
                </a:moveTo>
                <a:cubicBezTo>
                  <a:pt x="229" y="97"/>
                  <a:pt x="218" y="86"/>
                  <a:pt x="204" y="86"/>
                </a:cubicBezTo>
                <a:cubicBezTo>
                  <a:pt x="190" y="86"/>
                  <a:pt x="179" y="97"/>
                  <a:pt x="179" y="110"/>
                </a:cubicBezTo>
                <a:cubicBezTo>
                  <a:pt x="179" y="124"/>
                  <a:pt x="190" y="135"/>
                  <a:pt x="204" y="135"/>
                </a:cubicBezTo>
                <a:cubicBezTo>
                  <a:pt x="218" y="135"/>
                  <a:pt x="229" y="124"/>
                  <a:pt x="229" y="110"/>
                </a:cubicBezTo>
                <a:close/>
              </a:path>
            </a:pathLst>
          </a:custGeom>
          <a:solidFill>
            <a:srgbClr val="0078D7"/>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TextBox 31">
            <a:extLst>
              <a:ext uri="{FF2B5EF4-FFF2-40B4-BE49-F238E27FC236}">
                <a16:creationId xmlns:a16="http://schemas.microsoft.com/office/drawing/2014/main" id="{735072F1-FB09-4A85-9315-1DC5AB2326B8}"/>
              </a:ext>
            </a:extLst>
          </p:cNvPr>
          <p:cNvSpPr txBox="1"/>
          <p:nvPr/>
        </p:nvSpPr>
        <p:spPr>
          <a:xfrm>
            <a:off x="6516034" y="5523245"/>
            <a:ext cx="1679948" cy="193899"/>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2060"/>
                </a:solidFill>
                <a:effectLst/>
                <a:uLnTx/>
                <a:uFillTx/>
                <a:latin typeface="Segoe UI Semilight"/>
                <a:ea typeface="+mn-ea"/>
                <a:cs typeface="+mn-cs"/>
              </a:rPr>
              <a:t>Azure VNet Boundary</a:t>
            </a:r>
          </a:p>
        </p:txBody>
      </p:sp>
    </p:spTree>
    <p:extLst>
      <p:ext uri="{BB962C8B-B14F-4D97-AF65-F5344CB8AC3E}">
        <p14:creationId xmlns:p14="http://schemas.microsoft.com/office/powerpoint/2010/main" val="412536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4" presetClass="entr" presetSubtype="1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randombar(horizontal)">
                                      <p:cBhvr>
                                        <p:cTn id="1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P spid="31" grpId="0" animBg="1"/>
      <p:bldP spid="3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074161" y="-3242"/>
            <a:ext cx="3173150" cy="824662"/>
          </a:xfrm>
          <a:prstGeom prst="rect">
            <a:avLst/>
          </a:prstGeom>
        </p:spPr>
        <p:txBody>
          <a:bodyPr vert="horz" lIns="91427" tIns="45713" rIns="91427" bIns="45713" rtlCol="0" anchor="ctr">
            <a:noAutofit/>
          </a:bodyPr>
          <a:lstStyle>
            <a:lvl1pPr>
              <a:lnSpc>
                <a:spcPct val="90000"/>
              </a:lnSpc>
              <a:spcBef>
                <a:spcPct val="0"/>
              </a:spcBef>
              <a:buNone/>
              <a:defRPr sz="3600">
                <a:solidFill>
                  <a:srgbClr val="00B0F0"/>
                </a:solidFill>
                <a:latin typeface="Segoe UI Light" panose="020B0502040204020203" pitchFamily="34" charset="0"/>
                <a:ea typeface="+mj-ea"/>
                <a:cs typeface="Segoe UI Light" panose="020B0502040204020203" pitchFamily="34" charset="0"/>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3600" b="0" i="0" u="none" strike="noStrike" kern="0" cap="none" spc="0" normalizeH="0" baseline="0" noProof="0">
                <a:ln>
                  <a:noFill/>
                </a:ln>
                <a:solidFill>
                  <a:srgbClr val="00B0F0"/>
                </a:solidFill>
                <a:effectLst/>
                <a:uLnTx/>
                <a:uFillTx/>
                <a:latin typeface="Segoe UI Light" panose="020B0502040204020203" pitchFamily="34" charset="0"/>
                <a:ea typeface="+mj-ea"/>
              </a:rPr>
              <a:t>Siphon Usage</a:t>
            </a:r>
          </a:p>
        </p:txBody>
      </p:sp>
      <p:sp>
        <p:nvSpPr>
          <p:cNvPr id="5" name="Rectangle 4"/>
          <p:cNvSpPr/>
          <p:nvPr/>
        </p:nvSpPr>
        <p:spPr>
          <a:xfrm>
            <a:off x="7324937" y="-3243"/>
            <a:ext cx="4866199" cy="686075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 name="TextBox 5"/>
          <p:cNvSpPr txBox="1"/>
          <p:nvPr/>
        </p:nvSpPr>
        <p:spPr>
          <a:xfrm>
            <a:off x="7793352" y="213474"/>
            <a:ext cx="3668282" cy="6447380"/>
          </a:xfrm>
          <a:prstGeom prst="rect">
            <a:avLst/>
          </a:prstGeom>
          <a:noFill/>
        </p:spPr>
        <p:txBody>
          <a:bodyPr wrap="square" tIns="91427" bIns="91427" rtlCol="0" anchor="ctr" anchorCtr="0">
            <a:spAutoFit/>
          </a:bodyPr>
          <a:lstStyle/>
          <a:p>
            <a:pPr marL="0" marR="0" lvl="0" indent="0" algn="l" defTabSz="914225" rtl="0" eaLnBrk="1" fontAlgn="auto" latinLnBrk="0" hangingPunct="1">
              <a:lnSpc>
                <a:spcPct val="130000"/>
              </a:lnSpc>
              <a:spcBef>
                <a:spcPts val="250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Segoe UI" panose="020B0502040204020203" pitchFamily="34" charset="0"/>
              </a:rPr>
              <a:t>8 million</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EVENTS PER SECOND  PEAK INGRESS</a:t>
            </a:r>
          </a:p>
          <a:p>
            <a:pPr marL="0" marR="0" lvl="0" indent="0" algn="l" defTabSz="914225" rtl="0" eaLnBrk="1" fontAlgn="auto" latinLnBrk="0" hangingPunct="1">
              <a:lnSpc>
                <a:spcPct val="130000"/>
              </a:lnSpc>
              <a:spcBef>
                <a:spcPts val="250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light"/>
                <a:ea typeface="Open Sans Semibold" panose="020B0706030804020204" pitchFamily="34" charset="0"/>
                <a:cs typeface="Segoe UI" panose="020B0502040204020203" pitchFamily="34" charset="0"/>
              </a:rPr>
              <a:t>800 TB (10 GB per Sec)</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INGRESS PER DAY</a:t>
            </a:r>
          </a:p>
          <a:p>
            <a:pPr marL="0" marR="0" lvl="0" indent="0" algn="l" defTabSz="914225" rtl="0" eaLnBrk="1" fontAlgn="auto" latinLnBrk="0" hangingPunct="1">
              <a:lnSpc>
                <a:spcPct val="130000"/>
              </a:lnSpc>
              <a:spcBef>
                <a:spcPts val="250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Segoe UI" panose="020B0502040204020203" pitchFamily="34" charset="0"/>
              </a:rPr>
              <a:t>1,800; 450</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PRODUCTION KAFKA BROKERS; TOPICS</a:t>
            </a:r>
          </a:p>
          <a:p>
            <a:pPr marL="0" marR="0" lvl="0" indent="0" algn="l" defTabSz="914225" rtl="0" eaLnBrk="1" fontAlgn="auto" latinLnBrk="0" hangingPunct="1">
              <a:lnSpc>
                <a:spcPct val="13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endParaRP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Segoe UI" panose="020B0502040204020203" pitchFamily="34" charset="0"/>
              </a:rPr>
              <a:t>15 Sec</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99th PERCENTILE LATENCY</a:t>
            </a:r>
          </a:p>
          <a:p>
            <a:pPr marL="0" marR="0" lvl="0" indent="0" algn="l" defTabSz="914225" rtl="0" eaLnBrk="1" fontAlgn="auto" latinLnBrk="0" hangingPunct="1">
              <a:lnSpc>
                <a:spcPct val="13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endParaRP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KEY CUSTOMER SCENARIOS</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Ads Monetization (Fast BI)</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O365 Customer Fabric NRT – Tenant &amp; User insights</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BingNRT</a:t>
            </a:r>
            <a:r>
              <a:rPr kumimoji="0" lang="en-US" sz="12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 Operational Intelligence</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Presto (Fast SML) interactive analysis</a:t>
            </a:r>
          </a:p>
          <a:p>
            <a:pPr marL="0" marR="0" lvl="0" indent="0" algn="l" defTabSz="914225" rtl="0" eaLnBrk="1" fontAlgn="auto" latinLnBrk="0" hangingPunct="1">
              <a:lnSpc>
                <a:spcPct val="13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rPr>
              <a:t>Delve Analytics</a:t>
            </a:r>
          </a:p>
          <a:p>
            <a:pPr marL="0" marR="0" lvl="0" indent="0" algn="l" defTabSz="914225" rtl="0" eaLnBrk="1" fontAlgn="auto" latinLnBrk="0" hangingPunct="1">
              <a:lnSpc>
                <a:spcPct val="13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light"/>
              <a:ea typeface="Open Sans Semibold" panose="020B0706030804020204" pitchFamily="34" charset="0"/>
              <a:cs typeface="Open Sans Semibold" panose="020B0706030804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135" y="122501"/>
            <a:ext cx="604823" cy="543972"/>
          </a:xfrm>
          <a:prstGeom prst="rect">
            <a:avLst/>
          </a:prstGeom>
        </p:spPr>
      </p:pic>
      <p:graphicFrame>
        <p:nvGraphicFramePr>
          <p:cNvPr id="8" name="Chart 7">
            <a:extLst>
              <a:ext uri="{FF2B5EF4-FFF2-40B4-BE49-F238E27FC236}">
                <a16:creationId xmlns:a16="http://schemas.microsoft.com/office/drawing/2014/main" id="{00000000-0008-0000-0000-000002000000}"/>
              </a:ext>
            </a:extLst>
          </p:cNvPr>
          <p:cNvGraphicFramePr>
            <a:graphicFrameLocks/>
          </p:cNvGraphicFramePr>
          <p:nvPr>
            <p:extLst/>
          </p:nvPr>
        </p:nvGraphicFramePr>
        <p:xfrm>
          <a:off x="625947" y="3794706"/>
          <a:ext cx="5776144" cy="28176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00000000-0008-0000-0000-000003000000}"/>
              </a:ext>
            </a:extLst>
          </p:cNvPr>
          <p:cNvGraphicFramePr>
            <a:graphicFrameLocks/>
          </p:cNvGraphicFramePr>
          <p:nvPr>
            <p:extLst/>
          </p:nvPr>
        </p:nvGraphicFramePr>
        <p:xfrm>
          <a:off x="625948" y="821419"/>
          <a:ext cx="5858380" cy="281834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218097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p:txBody>
          <a:bodyPr/>
          <a:lstStyle/>
          <a:p>
            <a:r>
              <a:rPr lang="en-US" dirty="0"/>
              <a:t>Kafka API for Azure Event Hub</a:t>
            </a:r>
          </a:p>
        </p:txBody>
      </p:sp>
      <p:sp>
        <p:nvSpPr>
          <p:cNvPr id="2" name="TextBox 1">
            <a:extLst>
              <a:ext uri="{FF2B5EF4-FFF2-40B4-BE49-F238E27FC236}">
                <a16:creationId xmlns:a16="http://schemas.microsoft.com/office/drawing/2014/main" id="{5C4577B6-6168-6646-A059-EC9F095A7641}"/>
              </a:ext>
            </a:extLst>
          </p:cNvPr>
          <p:cNvSpPr txBox="1"/>
          <p:nvPr/>
        </p:nvSpPr>
        <p:spPr>
          <a:xfrm>
            <a:off x="269237" y="3690256"/>
            <a:ext cx="10580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bout</a:t>
            </a:r>
          </a:p>
        </p:txBody>
      </p:sp>
    </p:spTree>
    <p:extLst>
      <p:ext uri="{BB962C8B-B14F-4D97-AF65-F5344CB8AC3E}">
        <p14:creationId xmlns:p14="http://schemas.microsoft.com/office/powerpoint/2010/main" val="249922830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Kafka API for Azure Event Hub</a:t>
            </a:r>
          </a:p>
        </p:txBody>
      </p:sp>
      <p:sp>
        <p:nvSpPr>
          <p:cNvPr id="3" name="TextBox 2">
            <a:extLst>
              <a:ext uri="{FF2B5EF4-FFF2-40B4-BE49-F238E27FC236}">
                <a16:creationId xmlns:a16="http://schemas.microsoft.com/office/drawing/2014/main" id="{93C47260-FDAF-6D4C-A4D7-E70AC482B3E1}"/>
              </a:ext>
            </a:extLst>
          </p:cNvPr>
          <p:cNvSpPr txBox="1"/>
          <p:nvPr/>
        </p:nvSpPr>
        <p:spPr>
          <a:xfrm>
            <a:off x="266920" y="936176"/>
            <a:ext cx="11375572" cy="563231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Event Hubs, is a fully managed, serverless, Azure streaming PaaS that is Kafkaesque.</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 provides a Kafka endpoint that can be used by your existing Kafka based applications as an alternative to running your own Kafka cluster. </a:t>
            </a:r>
          </a:p>
          <a:p>
            <a:pPr>
              <a:lnSpc>
                <a:spcPct val="90000"/>
              </a:lnSpc>
              <a:spcAft>
                <a:spcPts val="600"/>
              </a:spcAft>
            </a:pPr>
            <a:r>
              <a:rPr lang="en-US" sz="3200" dirty="0">
                <a:gradFill>
                  <a:gsLst>
                    <a:gs pos="2917">
                      <a:schemeClr val="tx1"/>
                    </a:gs>
                    <a:gs pos="30000">
                      <a:schemeClr val="tx1"/>
                    </a:gs>
                  </a:gsLst>
                  <a:lin ang="5400000" scaled="0"/>
                </a:gradFill>
              </a:rPr>
              <a:t>- supports Apache Kafka protocol 1.0 and later, and works with your existing Kafka applications</a:t>
            </a:r>
          </a:p>
          <a:p>
            <a:pPr>
              <a:lnSpc>
                <a:spcPct val="90000"/>
              </a:lnSpc>
              <a:spcAft>
                <a:spcPts val="600"/>
              </a:spcAft>
            </a:pPr>
            <a:r>
              <a:rPr lang="en-US" sz="3200" dirty="0">
                <a:gradFill>
                  <a:gsLst>
                    <a:gs pos="2917">
                      <a:schemeClr val="tx1"/>
                    </a:gs>
                    <a:gs pos="30000">
                      <a:schemeClr val="tx1"/>
                    </a:gs>
                  </a:gsLst>
                  <a:lin ang="5400000" scaled="0"/>
                </a:gradFill>
              </a:rPr>
              <a:t>- supports streaming into Kafka API for Event Hub via </a:t>
            </a:r>
            <a:r>
              <a:rPr lang="en-US" sz="3200" dirty="0" err="1">
                <a:gradFill>
                  <a:gsLst>
                    <a:gs pos="2917">
                      <a:schemeClr val="tx1"/>
                    </a:gs>
                    <a:gs pos="30000">
                      <a:schemeClr val="tx1"/>
                    </a:gs>
                  </a:gsLst>
                  <a:lin ang="5400000" scaled="0"/>
                </a:gradFill>
              </a:rPr>
              <a:t>MirrorMaker</a:t>
            </a:r>
            <a:endParaRPr lang="en-US" sz="3200" dirty="0">
              <a:gradFill>
                <a:gsLst>
                  <a:gs pos="2917">
                    <a:schemeClr val="tx1"/>
                  </a:gs>
                  <a:gs pos="30000">
                    <a:schemeClr val="tx1"/>
                  </a:gs>
                </a:gsLst>
                <a:lin ang="5400000" scaled="0"/>
              </a:gradFill>
            </a:endParaRP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 no code change, just configuration change</a:t>
            </a:r>
          </a:p>
        </p:txBody>
      </p:sp>
    </p:spTree>
    <p:extLst>
      <p:ext uri="{BB962C8B-B14F-4D97-AF65-F5344CB8AC3E}">
        <p14:creationId xmlns:p14="http://schemas.microsoft.com/office/powerpoint/2010/main" val="122800540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Kafka API for Azure Event Hub</a:t>
            </a:r>
          </a:p>
        </p:txBody>
      </p:sp>
      <p:sp>
        <p:nvSpPr>
          <p:cNvPr id="3" name="TextBox 2">
            <a:extLst>
              <a:ext uri="{FF2B5EF4-FFF2-40B4-BE49-F238E27FC236}">
                <a16:creationId xmlns:a16="http://schemas.microsoft.com/office/drawing/2014/main" id="{93C47260-FDAF-6D4C-A4D7-E70AC482B3E1}"/>
              </a:ext>
            </a:extLst>
          </p:cNvPr>
          <p:cNvSpPr txBox="1"/>
          <p:nvPr/>
        </p:nvSpPr>
        <p:spPr>
          <a:xfrm>
            <a:off x="266920" y="936176"/>
            <a:ext cx="11375572" cy="5090624"/>
          </a:xfrm>
          <a:prstGeom prst="rect">
            <a:avLst/>
          </a:prstGeom>
          <a:noFill/>
        </p:spPr>
        <p:txBody>
          <a:bodyPr wrap="square" lIns="182880" tIns="146304" rIns="182880" bIns="146304" rtlCol="0">
            <a:spAutoFit/>
          </a:bodyPr>
          <a:lstStyle/>
          <a:p>
            <a:pPr marL="457200" indent="-457200">
              <a:lnSpc>
                <a:spcPct val="90000"/>
              </a:lnSpc>
              <a:spcAft>
                <a:spcPts val="600"/>
              </a:spcAft>
              <a:buFontTx/>
              <a:buChar char="-"/>
            </a:pPr>
            <a:r>
              <a:rPr lang="en-US" sz="3200" dirty="0">
                <a:gradFill>
                  <a:gsLst>
                    <a:gs pos="2917">
                      <a:schemeClr val="tx1"/>
                    </a:gs>
                    <a:gs pos="30000">
                      <a:schemeClr val="tx1"/>
                    </a:gs>
                  </a:gsLst>
                  <a:lin ang="5400000" scaled="0"/>
                </a:gradFill>
              </a:rPr>
              <a:t>Throughput unit concept for provisioning scale – 1  streaming unit = 1 </a:t>
            </a:r>
            <a:r>
              <a:rPr lang="en-US" sz="3200" dirty="0" err="1">
                <a:gradFill>
                  <a:gsLst>
                    <a:gs pos="2917">
                      <a:schemeClr val="tx1"/>
                    </a:gs>
                    <a:gs pos="30000">
                      <a:schemeClr val="tx1"/>
                    </a:gs>
                  </a:gsLst>
                  <a:lin ang="5400000" scaled="0"/>
                </a:gradFill>
              </a:rPr>
              <a:t>MBps</a:t>
            </a:r>
            <a:r>
              <a:rPr lang="en-US" sz="3200" dirty="0">
                <a:gradFill>
                  <a:gsLst>
                    <a:gs pos="2917">
                      <a:schemeClr val="tx1"/>
                    </a:gs>
                    <a:gs pos="30000">
                      <a:schemeClr val="tx1"/>
                    </a:gs>
                  </a:gsLst>
                  <a:lin ang="5400000" scaled="0"/>
                </a:gradFill>
              </a:rPr>
              <a:t>, or 1,000 events/second of ingress  </a:t>
            </a:r>
          </a:p>
          <a:p>
            <a:pPr marL="457200" indent="-457200">
              <a:lnSpc>
                <a:spcPct val="90000"/>
              </a:lnSpc>
              <a:spcAft>
                <a:spcPts val="600"/>
              </a:spcAft>
              <a:buFontTx/>
              <a:buChar char="-"/>
            </a:pPr>
            <a:r>
              <a:rPr lang="en-US" sz="3200" dirty="0">
                <a:gradFill>
                  <a:gsLst>
                    <a:gs pos="2917">
                      <a:schemeClr val="tx1"/>
                    </a:gs>
                    <a:gs pos="30000">
                      <a:schemeClr val="tx1"/>
                    </a:gs>
                  </a:gsLst>
                  <a:lin ang="5400000" scaled="0"/>
                </a:gradFill>
              </a:rPr>
              <a:t>Auto-scale when limits are hit with auto-inflate feature</a:t>
            </a:r>
            <a:br>
              <a:rPr lang="en-US" sz="3200" dirty="0">
                <a:gradFill>
                  <a:gsLst>
                    <a:gs pos="2917">
                      <a:schemeClr val="tx1"/>
                    </a:gs>
                    <a:gs pos="30000">
                      <a:schemeClr val="tx1"/>
                    </a:gs>
                  </a:gsLst>
                  <a:lin ang="5400000" scaled="0"/>
                </a:gradFill>
              </a:rPr>
            </a:b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Tx/>
              <a:buChar char="-"/>
            </a:pPr>
            <a:r>
              <a:rPr lang="en-US" sz="3200" dirty="0">
                <a:gradFill>
                  <a:gsLst>
                    <a:gs pos="2917">
                      <a:schemeClr val="tx1"/>
                    </a:gs>
                    <a:gs pos="30000">
                      <a:schemeClr val="tx1"/>
                    </a:gs>
                  </a:gsLst>
                  <a:lin ang="5400000" scaled="0"/>
                </a:gradFill>
              </a:rPr>
              <a:t>SSL for encryption</a:t>
            </a:r>
            <a:br>
              <a:rPr lang="en-US" sz="3200" dirty="0">
                <a:gradFill>
                  <a:gsLst>
                    <a:gs pos="2917">
                      <a:schemeClr val="tx1"/>
                    </a:gs>
                    <a:gs pos="30000">
                      <a:schemeClr val="tx1"/>
                    </a:gs>
                  </a:gsLst>
                  <a:lin ang="5400000" scaled="0"/>
                </a:gradFill>
              </a:rPr>
            </a:br>
            <a:r>
              <a:rPr lang="en-US" sz="3200" dirty="0">
                <a:gradFill>
                  <a:gsLst>
                    <a:gs pos="2917">
                      <a:schemeClr val="tx1"/>
                    </a:gs>
                    <a:gs pos="30000">
                      <a:schemeClr val="tx1"/>
                    </a:gs>
                  </a:gsLst>
                  <a:lin ang="5400000" scaled="0"/>
                </a:gradFill>
              </a:rPr>
              <a:t>SAS token based authentication</a:t>
            </a:r>
            <a:br>
              <a:rPr lang="en-US" sz="3200" dirty="0">
                <a:gradFill>
                  <a:gsLst>
                    <a:gs pos="2917">
                      <a:schemeClr val="tx1"/>
                    </a:gs>
                    <a:gs pos="30000">
                      <a:schemeClr val="tx1"/>
                    </a:gs>
                  </a:gsLst>
                  <a:lin ang="5400000" scaled="0"/>
                </a:gradFill>
              </a:rPr>
            </a:br>
            <a:r>
              <a:rPr lang="en-US" sz="3200" dirty="0">
                <a:gradFill>
                  <a:gsLst>
                    <a:gs pos="2917">
                      <a:schemeClr val="tx1"/>
                    </a:gs>
                    <a:gs pos="30000">
                      <a:schemeClr val="tx1"/>
                    </a:gs>
                  </a:gsLst>
                  <a:lin ang="5400000" scaled="0"/>
                </a:gradFill>
              </a:rPr>
              <a:t>Additional security through event publisher </a:t>
            </a:r>
            <a:br>
              <a:rPr lang="en-US" sz="3200" dirty="0">
                <a:gradFill>
                  <a:gsLst>
                    <a:gs pos="2917">
                      <a:schemeClr val="tx1"/>
                    </a:gs>
                    <a:gs pos="30000">
                      <a:schemeClr val="tx1"/>
                    </a:gs>
                  </a:gsLst>
                  <a:lin ang="5400000" scaled="0"/>
                </a:gradFill>
              </a:rPr>
            </a:br>
            <a:r>
              <a:rPr lang="en-US" dirty="0"/>
              <a:t>An event publisher - defines a virtual endpoint for an event hub. The publisher can only be used to send messages to an event hub. It is not possible to receive messages from a publisher.</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Tx/>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Tx/>
              <a:buChar char="-"/>
            </a:pPr>
            <a:r>
              <a:rPr lang="en-US" sz="3200" dirty="0">
                <a:gradFill>
                  <a:gsLst>
                    <a:gs pos="2917">
                      <a:schemeClr val="tx1"/>
                    </a:gs>
                    <a:gs pos="30000">
                      <a:schemeClr val="tx1"/>
                    </a:gs>
                  </a:gsLst>
                  <a:lin ang="5400000" scaled="0"/>
                </a:gradFill>
              </a:rPr>
              <a:t>Event Hubs capture to archive data to object storage </a:t>
            </a:r>
          </a:p>
        </p:txBody>
      </p:sp>
    </p:spTree>
    <p:extLst>
      <p:ext uri="{BB962C8B-B14F-4D97-AF65-F5344CB8AC3E}">
        <p14:creationId xmlns:p14="http://schemas.microsoft.com/office/powerpoint/2010/main" val="326123871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Kafka API for Azure Event Hub</a:t>
            </a:r>
          </a:p>
        </p:txBody>
      </p:sp>
      <p:sp>
        <p:nvSpPr>
          <p:cNvPr id="3" name="TextBox 2">
            <a:extLst>
              <a:ext uri="{FF2B5EF4-FFF2-40B4-BE49-F238E27FC236}">
                <a16:creationId xmlns:a16="http://schemas.microsoft.com/office/drawing/2014/main" id="{93C47260-FDAF-6D4C-A4D7-E70AC482B3E1}"/>
              </a:ext>
            </a:extLst>
          </p:cNvPr>
          <p:cNvSpPr txBox="1"/>
          <p:nvPr/>
        </p:nvSpPr>
        <p:spPr>
          <a:xfrm>
            <a:off x="266920" y="936176"/>
            <a:ext cx="11375572" cy="4555093"/>
          </a:xfrm>
          <a:prstGeom prst="rect">
            <a:avLst/>
          </a:prstGeom>
          <a:noFill/>
        </p:spPr>
        <p:txBody>
          <a:bodyPr wrap="square" lIns="182880" tIns="146304" rIns="182880" bIns="146304" rtlCol="0">
            <a:spAutoFit/>
          </a:bodyPr>
          <a:lstStyle/>
          <a:p>
            <a:r>
              <a:rPr lang="en-US" sz="3200" dirty="0">
                <a:gradFill>
                  <a:gsLst>
                    <a:gs pos="2917">
                      <a:schemeClr val="tx1"/>
                    </a:gs>
                    <a:gs pos="30000">
                      <a:schemeClr val="tx1"/>
                    </a:gs>
                  </a:gsLst>
                  <a:lin ang="5400000" scaled="0"/>
                </a:gradFill>
              </a:rPr>
              <a:t>Not supported:</a:t>
            </a:r>
          </a:p>
          <a:p>
            <a:pPr lvl="1"/>
            <a:r>
              <a:rPr lang="en-US" sz="2400" dirty="0">
                <a:gradFill>
                  <a:gsLst>
                    <a:gs pos="2917">
                      <a:schemeClr val="tx1"/>
                    </a:gs>
                    <a:gs pos="30000">
                      <a:schemeClr val="tx1"/>
                    </a:gs>
                  </a:gsLst>
                  <a:lin ang="5400000" scaled="0"/>
                </a:gradFill>
              </a:rPr>
              <a:t>Idempotent producer</a:t>
            </a:r>
          </a:p>
          <a:p>
            <a:pPr lvl="1"/>
            <a:r>
              <a:rPr lang="en-US" sz="2400" dirty="0">
                <a:gradFill>
                  <a:gsLst>
                    <a:gs pos="2917">
                      <a:schemeClr val="tx1"/>
                    </a:gs>
                    <a:gs pos="30000">
                      <a:schemeClr val="tx1"/>
                    </a:gs>
                  </a:gsLst>
                  <a:lin ang="5400000" scaled="0"/>
                </a:gradFill>
              </a:rPr>
              <a:t>Transaction</a:t>
            </a:r>
          </a:p>
          <a:p>
            <a:pPr lvl="1"/>
            <a:r>
              <a:rPr lang="en-US" sz="2400" dirty="0">
                <a:gradFill>
                  <a:gsLst>
                    <a:gs pos="2917">
                      <a:schemeClr val="tx1"/>
                    </a:gs>
                    <a:gs pos="30000">
                      <a:schemeClr val="tx1"/>
                    </a:gs>
                  </a:gsLst>
                  <a:lin ang="5400000" scaled="0"/>
                </a:gradFill>
              </a:rPr>
              <a:t>Compression</a:t>
            </a:r>
          </a:p>
          <a:p>
            <a:pPr lvl="1"/>
            <a:r>
              <a:rPr lang="en-US" sz="2400" dirty="0">
                <a:gradFill>
                  <a:gsLst>
                    <a:gs pos="2917">
                      <a:schemeClr val="tx1"/>
                    </a:gs>
                    <a:gs pos="30000">
                      <a:schemeClr val="tx1"/>
                    </a:gs>
                  </a:gsLst>
                  <a:lin ang="5400000" scaled="0"/>
                </a:gradFill>
              </a:rPr>
              <a:t>Size-based retention</a:t>
            </a:r>
          </a:p>
          <a:p>
            <a:pPr lvl="1"/>
            <a:r>
              <a:rPr lang="en-US" sz="2400" dirty="0">
                <a:gradFill>
                  <a:gsLst>
                    <a:gs pos="2917">
                      <a:schemeClr val="tx1"/>
                    </a:gs>
                    <a:gs pos="30000">
                      <a:schemeClr val="tx1"/>
                    </a:gs>
                  </a:gsLst>
                  <a:lin ang="5400000" scaled="0"/>
                </a:gradFill>
              </a:rPr>
              <a:t>Log compaction</a:t>
            </a:r>
          </a:p>
          <a:p>
            <a:pPr lvl="1"/>
            <a:r>
              <a:rPr lang="en-US" sz="2400" dirty="0">
                <a:gradFill>
                  <a:gsLst>
                    <a:gs pos="2917">
                      <a:schemeClr val="tx1"/>
                    </a:gs>
                    <a:gs pos="30000">
                      <a:schemeClr val="tx1"/>
                    </a:gs>
                  </a:gsLst>
                  <a:lin ang="5400000" scaled="0"/>
                </a:gradFill>
              </a:rPr>
              <a:t>Adding partitions to an existing topic</a:t>
            </a:r>
          </a:p>
          <a:p>
            <a:pPr lvl="1"/>
            <a:r>
              <a:rPr lang="en-US" sz="2400" dirty="0">
                <a:gradFill>
                  <a:gsLst>
                    <a:gs pos="2917">
                      <a:schemeClr val="tx1"/>
                    </a:gs>
                    <a:gs pos="30000">
                      <a:schemeClr val="tx1"/>
                    </a:gs>
                  </a:gsLst>
                  <a:lin ang="5400000" scaled="0"/>
                </a:gradFill>
              </a:rPr>
              <a:t>HTTP Kafka API support</a:t>
            </a:r>
          </a:p>
          <a:p>
            <a:pPr lvl="1"/>
            <a:r>
              <a:rPr lang="en-US" sz="2400" dirty="0">
                <a:gradFill>
                  <a:gsLst>
                    <a:gs pos="2917">
                      <a:schemeClr val="tx1"/>
                    </a:gs>
                    <a:gs pos="30000">
                      <a:schemeClr val="tx1"/>
                    </a:gs>
                  </a:gsLst>
                  <a:lin ang="5400000" scaled="0"/>
                </a:gradFill>
              </a:rPr>
              <a:t>Kafka Connect</a:t>
            </a:r>
          </a:p>
          <a:p>
            <a:pPr lvl="1"/>
            <a:r>
              <a:rPr lang="en-US" sz="2400" dirty="0">
                <a:gradFill>
                  <a:gsLst>
                    <a:gs pos="2917">
                      <a:schemeClr val="tx1"/>
                    </a:gs>
                    <a:gs pos="30000">
                      <a:schemeClr val="tx1"/>
                    </a:gs>
                  </a:gsLst>
                  <a:lin ang="5400000" scaled="0"/>
                </a:gradFill>
              </a:rPr>
              <a:t>Kafka Streams</a:t>
            </a:r>
          </a:p>
          <a:p>
            <a:pPr>
              <a:lnSpc>
                <a:spcPct val="90000"/>
              </a:lnSpc>
              <a:spcAft>
                <a:spcPts val="600"/>
              </a:spcAft>
            </a:pPr>
            <a:endParaRPr lang="en-US" sz="3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602559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p:txBody>
          <a:bodyPr/>
          <a:lstStyle/>
          <a:p>
            <a:r>
              <a:rPr lang="en-US" dirty="0"/>
              <a:t>      Newer Kafka features/services</a:t>
            </a: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51976" y="1352464"/>
            <a:ext cx="11348137" cy="361945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1. KafkaConnect API</a:t>
            </a:r>
            <a:br>
              <a:rPr lang="en-US" dirty="0">
                <a:solidFill>
                  <a:schemeClr val="tx1"/>
                </a:solidFill>
              </a:rPr>
            </a:br>
            <a:r>
              <a:rPr lang="en-US" dirty="0">
                <a:solidFill>
                  <a:schemeClr val="tx1"/>
                </a:solidFill>
              </a:rPr>
              <a:t>2. Kafka Streams API</a:t>
            </a:r>
            <a:br>
              <a:rPr lang="en-US" dirty="0">
                <a:solidFill>
                  <a:schemeClr val="tx1"/>
                </a:solidFill>
              </a:rPr>
            </a:br>
            <a:r>
              <a:rPr lang="en-US" dirty="0">
                <a:solidFill>
                  <a:schemeClr val="tx1"/>
                </a:solidFill>
              </a:rPr>
              <a:t>3. Confluent REST proxy</a:t>
            </a:r>
            <a:br>
              <a:rPr lang="en-US" dirty="0">
                <a:solidFill>
                  <a:schemeClr val="tx1"/>
                </a:solidFill>
              </a:rPr>
            </a:br>
            <a:r>
              <a:rPr lang="en-US" dirty="0">
                <a:solidFill>
                  <a:schemeClr val="tx1"/>
                </a:solidFill>
              </a:rPr>
              <a:t>4. KSQL</a:t>
            </a:r>
            <a:br>
              <a:rPr lang="en-US" dirty="0">
                <a:solidFill>
                  <a:schemeClr val="tx1"/>
                </a:solidFill>
              </a:rPr>
            </a:br>
            <a:r>
              <a:rPr lang="en-US" dirty="0">
                <a:solidFill>
                  <a:schemeClr val="tx1"/>
                </a:solidFill>
              </a:rPr>
              <a:t>5. Confluent Schema registry</a:t>
            </a:r>
            <a:br>
              <a:rPr lang="en-US" dirty="0">
                <a:solidFill>
                  <a:schemeClr val="tx1"/>
                </a:solidFill>
              </a:rPr>
            </a:br>
            <a:r>
              <a:rPr lang="en-US" dirty="0">
                <a:solidFill>
                  <a:schemeClr val="tx1"/>
                </a:solidFill>
                <a:sym typeface="Roboto"/>
              </a:rPr>
              <a:t>6. Log compaction</a:t>
            </a:r>
          </a:p>
          <a:p>
            <a:pPr marL="0" indent="0">
              <a:buNone/>
            </a:pPr>
            <a:endParaRPr lang="en-US" dirty="0"/>
          </a:p>
          <a:p>
            <a:pPr marL="0" indent="0">
              <a:buNone/>
            </a:pP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6920" y="20778"/>
            <a:ext cx="749300" cy="1168400"/>
          </a:xfrm>
          <a:prstGeom prst="rect">
            <a:avLst/>
          </a:prstGeom>
        </p:spPr>
      </p:pic>
    </p:spTree>
    <p:extLst>
      <p:ext uri="{BB962C8B-B14F-4D97-AF65-F5344CB8AC3E}">
        <p14:creationId xmlns:p14="http://schemas.microsoft.com/office/powerpoint/2010/main" val="18136232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Kafka Connect</a:t>
            </a:r>
            <a:br>
              <a:rPr lang="en-US" dirty="0"/>
            </a:br>
            <a:r>
              <a:rPr lang="en-US" sz="900" dirty="0"/>
              <a:t>                                                                </a:t>
            </a:r>
            <a:r>
              <a:rPr lang="en-US" sz="2800" dirty="0">
                <a:solidFill>
                  <a:schemeClr val="tx1"/>
                </a:solidFill>
              </a:rPr>
              <a:t>Value proposition</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br>
              <a:rPr lang="en-US" dirty="0"/>
            </a:b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11" name="Picture 10">
            <a:extLst>
              <a:ext uri="{FF2B5EF4-FFF2-40B4-BE49-F238E27FC236}">
                <a16:creationId xmlns:a16="http://schemas.microsoft.com/office/drawing/2014/main" id="{94C79AA7-8412-8742-B373-02B3B90C6D59}"/>
              </a:ext>
            </a:extLst>
          </p:cNvPr>
          <p:cNvPicPr>
            <a:picLocks noChangeAspect="1"/>
          </p:cNvPicPr>
          <p:nvPr/>
        </p:nvPicPr>
        <p:blipFill>
          <a:blip r:embed="rId3"/>
          <a:stretch>
            <a:fillRect/>
          </a:stretch>
        </p:blipFill>
        <p:spPr>
          <a:xfrm>
            <a:off x="421930" y="1608774"/>
            <a:ext cx="6366830" cy="2560455"/>
          </a:xfrm>
          <a:prstGeom prst="rect">
            <a:avLst/>
          </a:prstGeom>
        </p:spPr>
      </p:pic>
      <p:sp>
        <p:nvSpPr>
          <p:cNvPr id="12" name="TextBox 11">
            <a:extLst>
              <a:ext uri="{FF2B5EF4-FFF2-40B4-BE49-F238E27FC236}">
                <a16:creationId xmlns:a16="http://schemas.microsoft.com/office/drawing/2014/main" id="{D2C73F29-6BFD-F047-9C50-85CE9EA31740}"/>
              </a:ext>
            </a:extLst>
          </p:cNvPr>
          <p:cNvSpPr txBox="1"/>
          <p:nvPr/>
        </p:nvSpPr>
        <p:spPr>
          <a:xfrm>
            <a:off x="6671636" y="442028"/>
            <a:ext cx="5298770" cy="5973943"/>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onnector based, codeless integration from/to Kafka and supported sources/sinks</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onfigured batch integration – push with automated offset management</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Service is open source, connectors may/may not be</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an be installed on any Kafka cluster</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Scalable (horizontal)</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Fault tolerant</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Automatically load-balanced</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Extensible*</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DC configurable for RDBMS’</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In heavy traffic scenarios, dedicated instances recommended</a:t>
            </a:r>
          </a:p>
        </p:txBody>
      </p:sp>
      <p:sp>
        <p:nvSpPr>
          <p:cNvPr id="13" name="Rectangle 12">
            <a:extLst>
              <a:ext uri="{FF2B5EF4-FFF2-40B4-BE49-F238E27FC236}">
                <a16:creationId xmlns:a16="http://schemas.microsoft.com/office/drawing/2014/main" id="{5E283511-8F07-C340-B375-056A0299DA0C}"/>
              </a:ext>
            </a:extLst>
          </p:cNvPr>
          <p:cNvSpPr/>
          <p:nvPr/>
        </p:nvSpPr>
        <p:spPr>
          <a:xfrm>
            <a:off x="5520359" y="4073600"/>
            <a:ext cx="1151277" cy="230832"/>
          </a:xfrm>
          <a:prstGeom prst="rect">
            <a:avLst/>
          </a:prstGeom>
        </p:spPr>
        <p:txBody>
          <a:bodyPr wrap="none">
            <a:spAutoFit/>
          </a:bodyPr>
          <a:lstStyle/>
          <a:p>
            <a:r>
              <a:rPr lang="en-US" sz="900" dirty="0">
                <a:gradFill>
                  <a:gsLst>
                    <a:gs pos="2917">
                      <a:schemeClr val="tx1"/>
                    </a:gs>
                    <a:gs pos="30000">
                      <a:schemeClr val="tx1"/>
                    </a:gs>
                  </a:gsLst>
                  <a:lin ang="5400000" scaled="0"/>
                </a:gradFill>
              </a:rPr>
              <a:t>Courtesy - Confluent</a:t>
            </a:r>
            <a:endParaRPr lang="en-US" sz="900" dirty="0"/>
          </a:p>
        </p:txBody>
      </p:sp>
    </p:spTree>
    <p:extLst>
      <p:ext uri="{BB962C8B-B14F-4D97-AF65-F5344CB8AC3E}">
        <p14:creationId xmlns:p14="http://schemas.microsoft.com/office/powerpoint/2010/main" val="3762464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Kafka Streams</a:t>
            </a:r>
            <a:br>
              <a:rPr lang="en-US" dirty="0"/>
            </a:br>
            <a:r>
              <a:rPr lang="en-US" sz="900" dirty="0"/>
              <a:t>                                                                </a:t>
            </a:r>
            <a:r>
              <a:rPr lang="en-US" sz="2800" dirty="0">
                <a:solidFill>
                  <a:schemeClr val="tx1"/>
                </a:solidFill>
              </a:rPr>
              <a:t>Value proposition</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br>
              <a:rPr lang="en-US" dirty="0"/>
            </a:b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4" name="Picture 3">
            <a:extLst>
              <a:ext uri="{FF2B5EF4-FFF2-40B4-BE49-F238E27FC236}">
                <a16:creationId xmlns:a16="http://schemas.microsoft.com/office/drawing/2014/main" id="{5CD94544-C85A-754C-B697-D2EF746F9655}"/>
              </a:ext>
            </a:extLst>
          </p:cNvPr>
          <p:cNvPicPr>
            <a:picLocks noChangeAspect="1"/>
          </p:cNvPicPr>
          <p:nvPr/>
        </p:nvPicPr>
        <p:blipFill>
          <a:blip r:embed="rId3"/>
          <a:stretch>
            <a:fillRect/>
          </a:stretch>
        </p:blipFill>
        <p:spPr>
          <a:xfrm>
            <a:off x="268079" y="1365212"/>
            <a:ext cx="6314232" cy="3399971"/>
          </a:xfrm>
          <a:prstGeom prst="rect">
            <a:avLst/>
          </a:prstGeom>
        </p:spPr>
      </p:pic>
      <p:sp>
        <p:nvSpPr>
          <p:cNvPr id="6" name="Rectangle 5">
            <a:extLst>
              <a:ext uri="{FF2B5EF4-FFF2-40B4-BE49-F238E27FC236}">
                <a16:creationId xmlns:a16="http://schemas.microsoft.com/office/drawing/2014/main" id="{11B23B32-AA2A-4B4A-954F-9D9513FCC319}"/>
              </a:ext>
            </a:extLst>
          </p:cNvPr>
          <p:cNvSpPr/>
          <p:nvPr/>
        </p:nvSpPr>
        <p:spPr>
          <a:xfrm>
            <a:off x="5431034" y="4591415"/>
            <a:ext cx="1151277" cy="230832"/>
          </a:xfrm>
          <a:prstGeom prst="rect">
            <a:avLst/>
          </a:prstGeom>
        </p:spPr>
        <p:txBody>
          <a:bodyPr wrap="none">
            <a:spAutoFit/>
          </a:bodyPr>
          <a:lstStyle/>
          <a:p>
            <a:r>
              <a:rPr lang="en-US" sz="900" dirty="0">
                <a:gradFill>
                  <a:gsLst>
                    <a:gs pos="2917">
                      <a:schemeClr val="tx1"/>
                    </a:gs>
                    <a:gs pos="30000">
                      <a:schemeClr val="tx1"/>
                    </a:gs>
                  </a:gsLst>
                  <a:lin ang="5400000" scaled="0"/>
                </a:gradFill>
              </a:rPr>
              <a:t>Courtesy - Confluent</a:t>
            </a:r>
            <a:endParaRPr lang="en-US" sz="900" dirty="0"/>
          </a:p>
        </p:txBody>
      </p:sp>
      <p:sp>
        <p:nvSpPr>
          <p:cNvPr id="7" name="TextBox 6">
            <a:extLst>
              <a:ext uri="{FF2B5EF4-FFF2-40B4-BE49-F238E27FC236}">
                <a16:creationId xmlns:a16="http://schemas.microsoft.com/office/drawing/2014/main" id="{9455361A-EB98-8743-A1CB-1430DB31BC90}"/>
              </a:ext>
            </a:extLst>
          </p:cNvPr>
          <p:cNvSpPr txBox="1"/>
          <p:nvPr/>
        </p:nvSpPr>
        <p:spPr>
          <a:xfrm>
            <a:off x="6872365" y="532516"/>
            <a:ext cx="4814096" cy="515525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You don’t need a Spark cluster to stream ingest from Kafka – write a Java app instead with Kafka streams</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Open source</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Bring your own infrastructure</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Scalable (horizontal)</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Fault tolerant</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Exactly once processing semantics</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Integrated with Kafka security</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Battle tested and in use in production</a:t>
            </a:r>
          </a:p>
        </p:txBody>
      </p:sp>
      <p:sp>
        <p:nvSpPr>
          <p:cNvPr id="8" name="TextBox 7">
            <a:extLst>
              <a:ext uri="{FF2B5EF4-FFF2-40B4-BE49-F238E27FC236}">
                <a16:creationId xmlns:a16="http://schemas.microsoft.com/office/drawing/2014/main" id="{9543F076-5F29-6B4E-9035-7918101FE16D}"/>
              </a:ext>
            </a:extLst>
          </p:cNvPr>
          <p:cNvSpPr txBox="1"/>
          <p:nvPr/>
        </p:nvSpPr>
        <p:spPr>
          <a:xfrm>
            <a:off x="505539" y="5598996"/>
            <a:ext cx="11180922" cy="1077218"/>
          </a:xfrm>
          <a:prstGeom prst="rect">
            <a:avLst/>
          </a:prstGeom>
          <a:solidFill>
            <a:schemeClr val="tx1">
              <a:lumMod val="85000"/>
              <a:lumOff val="15000"/>
            </a:schemeClr>
          </a:solidFill>
        </p:spPr>
        <p:txBody>
          <a:bodyPr wrap="square" rtlCol="0">
            <a:spAutoFit/>
          </a:bodyPr>
          <a:lstStyle/>
          <a:p>
            <a:r>
              <a:rPr lang="en-US" sz="1600" dirty="0">
                <a:solidFill>
                  <a:srgbClr val="FC5661"/>
                </a:solidFill>
                <a:latin typeface="Consolas" charset="0"/>
                <a:ea typeface="Consolas" charset="0"/>
                <a:cs typeface="Consolas" charset="0"/>
              </a:rPr>
              <a:t>KStream</a:t>
            </a:r>
            <a:r>
              <a:rPr lang="en-US" sz="1600" dirty="0">
                <a:solidFill>
                  <a:schemeClr val="bg1"/>
                </a:solidFill>
                <a:latin typeface="Consolas" charset="0"/>
                <a:ea typeface="Consolas" charset="0"/>
                <a:cs typeface="Consolas" charset="0"/>
              </a:rPr>
              <a:t>&lt;User, </a:t>
            </a:r>
            <a:r>
              <a:rPr lang="en-US" sz="1600" dirty="0" err="1">
                <a:solidFill>
                  <a:schemeClr val="bg1"/>
                </a:solidFill>
                <a:latin typeface="Consolas" charset="0"/>
                <a:ea typeface="Consolas" charset="0"/>
                <a:cs typeface="Consolas" charset="0"/>
              </a:rPr>
              <a:t>PageViewEvent</a:t>
            </a:r>
            <a:r>
              <a:rPr lang="en-US" sz="1600" dirty="0">
                <a:solidFill>
                  <a:schemeClr val="bg1"/>
                </a:solidFill>
                <a:latin typeface="Consolas" charset="0"/>
                <a:ea typeface="Consolas" charset="0"/>
                <a:cs typeface="Consolas" charset="0"/>
              </a:rPr>
              <a:t>&gt; </a:t>
            </a:r>
            <a:r>
              <a:rPr lang="en-US" sz="1600" dirty="0" err="1">
                <a:solidFill>
                  <a:schemeClr val="bg1"/>
                </a:solidFill>
                <a:latin typeface="Consolas" charset="0"/>
                <a:ea typeface="Consolas" charset="0"/>
                <a:cs typeface="Consolas" charset="0"/>
              </a:rPr>
              <a:t>pageViews</a:t>
            </a:r>
            <a:r>
              <a:rPr lang="en-US" sz="1600" dirty="0">
                <a:solidFill>
                  <a:schemeClr val="bg1"/>
                </a:solidFill>
                <a:latin typeface="Consolas" charset="0"/>
                <a:ea typeface="Consolas" charset="0"/>
                <a:cs typeface="Consolas" charset="0"/>
              </a:rPr>
              <a:t> = </a:t>
            </a:r>
            <a:r>
              <a:rPr lang="en-US" sz="1600" dirty="0" err="1">
                <a:solidFill>
                  <a:schemeClr val="bg1"/>
                </a:solidFill>
                <a:latin typeface="Consolas" charset="0"/>
                <a:ea typeface="Consolas" charset="0"/>
                <a:cs typeface="Consolas" charset="0"/>
              </a:rPr>
              <a:t>builder.</a:t>
            </a:r>
            <a:r>
              <a:rPr lang="en-US" sz="1600" dirty="0" err="1">
                <a:solidFill>
                  <a:srgbClr val="00B0F0"/>
                </a:solidFill>
                <a:latin typeface="Consolas" charset="0"/>
                <a:ea typeface="Consolas" charset="0"/>
                <a:cs typeface="Consolas" charset="0"/>
              </a:rPr>
              <a:t>stream</a:t>
            </a:r>
            <a:r>
              <a:rPr lang="en-US" sz="1600" dirty="0">
                <a:solidFill>
                  <a:schemeClr val="bg1"/>
                </a:solidFill>
                <a:latin typeface="Consolas" charset="0"/>
                <a:ea typeface="Consolas" charset="0"/>
                <a:cs typeface="Consolas" charset="0"/>
              </a:rPr>
              <a:t>("</a:t>
            </a:r>
            <a:r>
              <a:rPr lang="en-US" sz="1600" dirty="0" err="1">
                <a:solidFill>
                  <a:schemeClr val="bg1"/>
                </a:solidFill>
                <a:latin typeface="Consolas" charset="0"/>
                <a:ea typeface="Consolas" charset="0"/>
                <a:cs typeface="Consolas" charset="0"/>
              </a:rPr>
              <a:t>pageviews</a:t>
            </a:r>
            <a:r>
              <a:rPr lang="en-US" sz="1600" dirty="0">
                <a:solidFill>
                  <a:schemeClr val="bg1"/>
                </a:solidFill>
                <a:latin typeface="Consolas" charset="0"/>
                <a:ea typeface="Consolas" charset="0"/>
                <a:cs typeface="Consolas" charset="0"/>
              </a:rPr>
              <a:t>-topic");</a:t>
            </a:r>
          </a:p>
          <a:p>
            <a:r>
              <a:rPr lang="en-US" sz="1600" dirty="0" err="1">
                <a:solidFill>
                  <a:srgbClr val="FC5661"/>
                </a:solidFill>
                <a:latin typeface="Consolas" charset="0"/>
                <a:ea typeface="Consolas" charset="0"/>
                <a:cs typeface="Consolas" charset="0"/>
              </a:rPr>
              <a:t>KTable</a:t>
            </a:r>
            <a:r>
              <a:rPr lang="en-US" sz="1600" dirty="0">
                <a:solidFill>
                  <a:schemeClr val="bg1"/>
                </a:solidFill>
                <a:latin typeface="Consolas" charset="0"/>
                <a:ea typeface="Consolas" charset="0"/>
                <a:cs typeface="Consolas" charset="0"/>
              </a:rPr>
              <a:t>&lt;</a:t>
            </a:r>
            <a:r>
              <a:rPr lang="en-US" sz="1600" dirty="0">
                <a:solidFill>
                  <a:srgbClr val="FC5661"/>
                </a:solidFill>
                <a:latin typeface="Consolas" charset="0"/>
                <a:ea typeface="Consolas" charset="0"/>
                <a:cs typeface="Consolas" charset="0"/>
              </a:rPr>
              <a:t>Windowed</a:t>
            </a:r>
            <a:r>
              <a:rPr lang="en-US" sz="1600" dirty="0">
                <a:solidFill>
                  <a:schemeClr val="bg1"/>
                </a:solidFill>
                <a:latin typeface="Consolas" charset="0"/>
                <a:ea typeface="Consolas" charset="0"/>
                <a:cs typeface="Consolas" charset="0"/>
              </a:rPr>
              <a:t>&lt;User&gt;, Long&gt; </a:t>
            </a:r>
            <a:r>
              <a:rPr lang="en-US" sz="1600" dirty="0" err="1">
                <a:solidFill>
                  <a:schemeClr val="bg1"/>
                </a:solidFill>
                <a:latin typeface="Consolas" charset="0"/>
                <a:ea typeface="Consolas" charset="0"/>
                <a:cs typeface="Consolas" charset="0"/>
              </a:rPr>
              <a:t>viewsPerUserSession</a:t>
            </a:r>
            <a:r>
              <a:rPr lang="en-US" sz="1600" dirty="0">
                <a:solidFill>
                  <a:schemeClr val="bg1"/>
                </a:solidFill>
                <a:latin typeface="Consolas" charset="0"/>
                <a:ea typeface="Consolas" charset="0"/>
                <a:cs typeface="Consolas" charset="0"/>
              </a:rPr>
              <a:t> </a:t>
            </a:r>
            <a:r>
              <a:rPr lang="en-US" sz="1600" dirty="0">
                <a:solidFill>
                  <a:srgbClr val="FC5661"/>
                </a:solidFill>
                <a:latin typeface="Consolas" charset="0"/>
                <a:ea typeface="Consolas" charset="0"/>
                <a:cs typeface="Consolas" charset="0"/>
              </a:rPr>
              <a:t>= </a:t>
            </a:r>
            <a:r>
              <a:rPr lang="en-US" sz="1600" dirty="0" err="1">
                <a:solidFill>
                  <a:schemeClr val="bg1"/>
                </a:solidFill>
                <a:latin typeface="Consolas" charset="0"/>
                <a:ea typeface="Consolas" charset="0"/>
                <a:cs typeface="Consolas" charset="0"/>
              </a:rPr>
              <a:t>pageViews</a:t>
            </a:r>
            <a:br>
              <a:rPr lang="en-US" sz="1600" dirty="0">
                <a:solidFill>
                  <a:srgbClr val="FC5661"/>
                </a:solidFill>
                <a:latin typeface="Consolas" charset="0"/>
                <a:ea typeface="Consolas" charset="0"/>
                <a:cs typeface="Consolas" charset="0"/>
              </a:rPr>
            </a:br>
            <a:r>
              <a:rPr lang="en-US" sz="1600" dirty="0">
                <a:solidFill>
                  <a:srgbClr val="FC5661"/>
                </a:solidFill>
                <a:latin typeface="Consolas" charset="0"/>
                <a:ea typeface="Consolas" charset="0"/>
                <a:cs typeface="Consolas" charset="0"/>
              </a:rPr>
              <a:t>    </a:t>
            </a:r>
            <a:r>
              <a:rPr lang="en-US" sz="1600" dirty="0">
                <a:solidFill>
                  <a:schemeClr val="bg1"/>
                </a:solidFill>
                <a:latin typeface="Consolas" charset="0"/>
                <a:ea typeface="Consolas" charset="0"/>
                <a:cs typeface="Consolas" charset="0"/>
              </a:rPr>
              <a:t>.</a:t>
            </a:r>
            <a:r>
              <a:rPr lang="en-US" sz="1600" dirty="0" err="1">
                <a:solidFill>
                  <a:srgbClr val="00B0F0"/>
                </a:solidFill>
                <a:latin typeface="Consolas" charset="0"/>
                <a:ea typeface="Consolas" charset="0"/>
                <a:cs typeface="Consolas" charset="0"/>
              </a:rPr>
              <a:t>groupByKey</a:t>
            </a:r>
            <a:r>
              <a:rPr lang="en-US" sz="1600" dirty="0">
                <a:solidFill>
                  <a:schemeClr val="bg1"/>
                </a:solidFill>
                <a:latin typeface="Consolas" charset="0"/>
                <a:ea typeface="Consolas" charset="0"/>
                <a:cs typeface="Consolas" charset="0"/>
              </a:rPr>
              <a:t>()   </a:t>
            </a:r>
            <a:br>
              <a:rPr lang="en-US" sz="1600" dirty="0">
                <a:solidFill>
                  <a:schemeClr val="bg1"/>
                </a:solidFill>
                <a:latin typeface="Consolas" charset="0"/>
                <a:ea typeface="Consolas" charset="0"/>
                <a:cs typeface="Consolas" charset="0"/>
              </a:rPr>
            </a:br>
            <a:r>
              <a:rPr lang="en-US" sz="1600" dirty="0">
                <a:solidFill>
                  <a:schemeClr val="bg1"/>
                </a:solidFill>
                <a:latin typeface="Consolas" charset="0"/>
                <a:ea typeface="Consolas" charset="0"/>
                <a:cs typeface="Consolas" charset="0"/>
              </a:rPr>
              <a:t>    .</a:t>
            </a:r>
            <a:r>
              <a:rPr lang="en-US" sz="1600" dirty="0">
                <a:solidFill>
                  <a:srgbClr val="00B0F0"/>
                </a:solidFill>
                <a:latin typeface="Consolas" charset="0"/>
                <a:ea typeface="Consolas" charset="0"/>
                <a:cs typeface="Consolas" charset="0"/>
              </a:rPr>
              <a:t>count</a:t>
            </a:r>
            <a:r>
              <a:rPr lang="en-US" sz="1600" dirty="0">
                <a:solidFill>
                  <a:schemeClr val="bg1"/>
                </a:solidFill>
                <a:latin typeface="Consolas" charset="0"/>
                <a:ea typeface="Consolas" charset="0"/>
                <a:cs typeface="Consolas" charset="0"/>
              </a:rPr>
              <a:t>(</a:t>
            </a:r>
            <a:r>
              <a:rPr lang="en-US" sz="1600" dirty="0" err="1">
                <a:solidFill>
                  <a:srgbClr val="00B0F0"/>
                </a:solidFill>
                <a:latin typeface="Consolas" charset="0"/>
                <a:ea typeface="Consolas" charset="0"/>
                <a:cs typeface="Consolas" charset="0"/>
              </a:rPr>
              <a:t>SessionWindows</a:t>
            </a:r>
            <a:r>
              <a:rPr lang="en-US" sz="1600" dirty="0" err="1">
                <a:solidFill>
                  <a:schemeClr val="bg1"/>
                </a:solidFill>
                <a:latin typeface="Consolas" charset="0"/>
                <a:ea typeface="Consolas" charset="0"/>
                <a:cs typeface="Consolas" charset="0"/>
              </a:rPr>
              <a:t>.with</a:t>
            </a:r>
            <a:r>
              <a:rPr lang="en-US" sz="1600" dirty="0">
                <a:solidFill>
                  <a:schemeClr val="bg1"/>
                </a:solidFill>
                <a:latin typeface="Consolas" charset="0"/>
                <a:ea typeface="Consolas" charset="0"/>
                <a:cs typeface="Consolas" charset="0"/>
              </a:rPr>
              <a:t>(</a:t>
            </a:r>
            <a:r>
              <a:rPr lang="en-US" sz="1600" dirty="0" err="1">
                <a:solidFill>
                  <a:schemeClr val="bg1"/>
                </a:solidFill>
                <a:latin typeface="Consolas" charset="0"/>
                <a:ea typeface="Consolas" charset="0"/>
                <a:cs typeface="Consolas" charset="0"/>
              </a:rPr>
              <a:t>TimeUnit.</a:t>
            </a:r>
            <a:r>
              <a:rPr lang="en-US" sz="1600" dirty="0" err="1">
                <a:solidFill>
                  <a:srgbClr val="00B0F0"/>
                </a:solidFill>
                <a:latin typeface="Consolas" charset="0"/>
                <a:ea typeface="Consolas" charset="0"/>
                <a:cs typeface="Consolas" charset="0"/>
              </a:rPr>
              <a:t>MINUTES</a:t>
            </a:r>
            <a:r>
              <a:rPr lang="en-US" sz="1600" dirty="0" err="1">
                <a:solidFill>
                  <a:schemeClr val="bg1"/>
                </a:solidFill>
                <a:latin typeface="Consolas" charset="0"/>
                <a:ea typeface="Consolas" charset="0"/>
                <a:cs typeface="Consolas" charset="0"/>
              </a:rPr>
              <a:t>.toMillis</a:t>
            </a:r>
            <a:r>
              <a:rPr lang="en-US" sz="1600" dirty="0">
                <a:solidFill>
                  <a:schemeClr val="bg1"/>
                </a:solidFill>
                <a:latin typeface="Consolas" charset="0"/>
                <a:ea typeface="Consolas" charset="0"/>
                <a:cs typeface="Consolas" charset="0"/>
              </a:rPr>
              <a:t>(</a:t>
            </a:r>
            <a:r>
              <a:rPr lang="en-US" sz="1600" dirty="0">
                <a:solidFill>
                  <a:srgbClr val="00B0F0"/>
                </a:solidFill>
                <a:latin typeface="Consolas" charset="0"/>
                <a:ea typeface="Consolas" charset="0"/>
                <a:cs typeface="Consolas" charset="0"/>
              </a:rPr>
              <a:t>5</a:t>
            </a:r>
            <a:r>
              <a:rPr lang="en-US" sz="1600" dirty="0">
                <a:solidFill>
                  <a:schemeClr val="bg1"/>
                </a:solidFill>
                <a:latin typeface="Consolas" charset="0"/>
                <a:ea typeface="Consolas" charset="0"/>
                <a:cs typeface="Consolas" charset="0"/>
              </a:rPr>
              <a:t>)), "session-views");</a:t>
            </a:r>
          </a:p>
        </p:txBody>
      </p:sp>
    </p:spTree>
    <p:extLst>
      <p:ext uri="{BB962C8B-B14F-4D97-AF65-F5344CB8AC3E}">
        <p14:creationId xmlns:p14="http://schemas.microsoft.com/office/powerpoint/2010/main" val="15231575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7B4C8-5F09-CB4B-9207-1EC6635289EF}"/>
              </a:ext>
            </a:extLst>
          </p:cNvPr>
          <p:cNvSpPr>
            <a:spLocks noGrp="1"/>
          </p:cNvSpPr>
          <p:nvPr>
            <p:ph type="title"/>
          </p:nvPr>
        </p:nvSpPr>
        <p:spPr>
          <a:xfrm>
            <a:off x="268079" y="82684"/>
            <a:ext cx="11655840" cy="899665"/>
          </a:xfrm>
        </p:spPr>
        <p:txBody>
          <a:bodyPr/>
          <a:lstStyle/>
          <a:p>
            <a:r>
              <a:rPr lang="en-US" dirty="0"/>
              <a:t>       KSQL</a:t>
            </a:r>
            <a:br>
              <a:rPr lang="en-US" dirty="0"/>
            </a:br>
            <a:r>
              <a:rPr lang="en-US" sz="900" dirty="0"/>
              <a:t>                                                                </a:t>
            </a:r>
            <a:r>
              <a:rPr lang="en-US" sz="2800" dirty="0">
                <a:solidFill>
                  <a:schemeClr val="tx1"/>
                </a:solidFill>
              </a:rPr>
              <a:t>Value proposition</a:t>
            </a:r>
            <a:endParaRPr lang="en-US" dirty="0">
              <a:solidFill>
                <a:schemeClr val="tx1"/>
              </a:solidFill>
            </a:endParaRPr>
          </a:p>
        </p:txBody>
      </p:sp>
      <p:sp>
        <p:nvSpPr>
          <p:cNvPr id="3" name="Text Placeholder 4">
            <a:extLst>
              <a:ext uri="{FF2B5EF4-FFF2-40B4-BE49-F238E27FC236}">
                <a16:creationId xmlns:a16="http://schemas.microsoft.com/office/drawing/2014/main" id="{B31B576E-C11E-2E49-BCF2-08652FE338A5}"/>
              </a:ext>
            </a:extLst>
          </p:cNvPr>
          <p:cNvSpPr txBox="1">
            <a:spLocks/>
          </p:cNvSpPr>
          <p:nvPr/>
        </p:nvSpPr>
        <p:spPr>
          <a:xfrm>
            <a:off x="421930" y="1548407"/>
            <a:ext cx="11348137"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br>
              <a:rPr lang="en-US" dirty="0"/>
            </a:br>
            <a:endParaRPr lang="en-US" dirty="0"/>
          </a:p>
        </p:txBody>
      </p:sp>
      <p:pic>
        <p:nvPicPr>
          <p:cNvPr id="5" name="Picture 4">
            <a:extLst>
              <a:ext uri="{FF2B5EF4-FFF2-40B4-BE49-F238E27FC236}">
                <a16:creationId xmlns:a16="http://schemas.microsoft.com/office/drawing/2014/main" id="{F5C76C9D-7084-5E41-A390-4F4D3D3C67F3}"/>
              </a:ext>
            </a:extLst>
          </p:cNvPr>
          <p:cNvPicPr>
            <a:picLocks noChangeAspect="1"/>
          </p:cNvPicPr>
          <p:nvPr/>
        </p:nvPicPr>
        <p:blipFill>
          <a:blip r:embed="rId2"/>
          <a:stretch>
            <a:fillRect/>
          </a:stretch>
        </p:blipFill>
        <p:spPr>
          <a:xfrm>
            <a:off x="268079" y="139748"/>
            <a:ext cx="749300" cy="1168400"/>
          </a:xfrm>
          <a:prstGeom prst="rect">
            <a:avLst/>
          </a:prstGeom>
        </p:spPr>
      </p:pic>
      <p:pic>
        <p:nvPicPr>
          <p:cNvPr id="6" name="Picture 5">
            <a:extLst>
              <a:ext uri="{FF2B5EF4-FFF2-40B4-BE49-F238E27FC236}">
                <a16:creationId xmlns:a16="http://schemas.microsoft.com/office/drawing/2014/main" id="{E8285034-1EFF-B348-9E38-8099DBCA75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62676" y="242137"/>
            <a:ext cx="1537919" cy="2775007"/>
          </a:xfrm>
          <a:prstGeom prst="rect">
            <a:avLst/>
          </a:prstGeom>
        </p:spPr>
      </p:pic>
      <p:sp>
        <p:nvSpPr>
          <p:cNvPr id="7" name="TextBox 6">
            <a:extLst>
              <a:ext uri="{FF2B5EF4-FFF2-40B4-BE49-F238E27FC236}">
                <a16:creationId xmlns:a16="http://schemas.microsoft.com/office/drawing/2014/main" id="{9D176FCB-9B15-0040-9FF3-331D0098FE77}"/>
              </a:ext>
            </a:extLst>
          </p:cNvPr>
          <p:cNvSpPr txBox="1"/>
          <p:nvPr/>
        </p:nvSpPr>
        <p:spPr>
          <a:xfrm>
            <a:off x="268078" y="1308148"/>
            <a:ext cx="9964069" cy="2853089"/>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SQL like construct to process streams in a topic</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onfluent open source/enterprise</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Can be installed on non-Confluent Kafka clusters; install on VMs separately</a:t>
            </a:r>
          </a:p>
          <a:p>
            <a:pPr marL="342900" indent="-342900">
              <a:lnSpc>
                <a:spcPct val="90000"/>
              </a:lnSpc>
              <a:spcAft>
                <a:spcPts val="600"/>
              </a:spcAft>
              <a:buFont typeface="Wingdings" pitchFamily="2" charset="2"/>
              <a:buChar char="§"/>
            </a:pPr>
            <a:r>
              <a:rPr lang="en-US" sz="2400" dirty="0">
                <a:gradFill>
                  <a:gsLst>
                    <a:gs pos="2917">
                      <a:schemeClr val="tx1"/>
                    </a:gs>
                    <a:gs pos="30000">
                      <a:schemeClr val="tx1"/>
                    </a:gs>
                  </a:gsLst>
                  <a:lin ang="5400000" scaled="0"/>
                </a:gradFill>
              </a:rPr>
              <a:t>Use in real-time analytics</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E.g. Run KSQL against a topic receiving credit card transactions to detect fraud in real time and write fraudulent transactions to a separate topic against which real-time actioning is configured</a:t>
            </a:r>
          </a:p>
        </p:txBody>
      </p:sp>
      <p:pic>
        <p:nvPicPr>
          <p:cNvPr id="4" name="Picture 3">
            <a:extLst>
              <a:ext uri="{FF2B5EF4-FFF2-40B4-BE49-F238E27FC236}">
                <a16:creationId xmlns:a16="http://schemas.microsoft.com/office/drawing/2014/main" id="{03AB51E5-D45D-BB4E-8DFA-78689E7C1B18}"/>
              </a:ext>
            </a:extLst>
          </p:cNvPr>
          <p:cNvPicPr>
            <a:picLocks noChangeAspect="1"/>
          </p:cNvPicPr>
          <p:nvPr/>
        </p:nvPicPr>
        <p:blipFill>
          <a:blip r:embed="rId4"/>
          <a:stretch>
            <a:fillRect/>
          </a:stretch>
        </p:blipFill>
        <p:spPr>
          <a:xfrm>
            <a:off x="642729" y="4209139"/>
            <a:ext cx="6444343" cy="2240995"/>
          </a:xfrm>
          <a:prstGeom prst="rect">
            <a:avLst/>
          </a:prstGeom>
        </p:spPr>
      </p:pic>
      <p:sp>
        <p:nvSpPr>
          <p:cNvPr id="8" name="Rectangle 7">
            <a:extLst>
              <a:ext uri="{FF2B5EF4-FFF2-40B4-BE49-F238E27FC236}">
                <a16:creationId xmlns:a16="http://schemas.microsoft.com/office/drawing/2014/main" id="{C4707602-568A-7646-8960-CD3A24642624}"/>
              </a:ext>
            </a:extLst>
          </p:cNvPr>
          <p:cNvSpPr/>
          <p:nvPr/>
        </p:nvSpPr>
        <p:spPr>
          <a:xfrm>
            <a:off x="5964434" y="6206220"/>
            <a:ext cx="1151277" cy="230832"/>
          </a:xfrm>
          <a:prstGeom prst="rect">
            <a:avLst/>
          </a:prstGeom>
        </p:spPr>
        <p:txBody>
          <a:bodyPr wrap="none">
            <a:spAutoFit/>
          </a:bodyPr>
          <a:lstStyle/>
          <a:p>
            <a:r>
              <a:rPr lang="en-US" sz="900" dirty="0">
                <a:gradFill>
                  <a:gsLst>
                    <a:gs pos="2917">
                      <a:schemeClr val="tx1"/>
                    </a:gs>
                    <a:gs pos="30000">
                      <a:schemeClr val="tx1"/>
                    </a:gs>
                  </a:gsLst>
                  <a:lin ang="5400000" scaled="0"/>
                </a:gradFill>
              </a:rPr>
              <a:t>Courtesy - Confluent</a:t>
            </a:r>
            <a:endParaRPr lang="en-US" sz="900" dirty="0"/>
          </a:p>
        </p:txBody>
      </p:sp>
    </p:spTree>
    <p:extLst>
      <p:ext uri="{BB962C8B-B14F-4D97-AF65-F5344CB8AC3E}">
        <p14:creationId xmlns:p14="http://schemas.microsoft.com/office/powerpoint/2010/main" val="20560354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39DB693-9A3B-4236-830D-143EB8115690}" vid="{C99532CD-FAB1-4410-8D42-5C3927DB5AE6}"/>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DFDF5CB5-7D37-4314-855D-FE9174FEA959}">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b3bc04a5-d503-43b1-b98c-a8cf663329d9"/>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325</TotalTime>
  <Words>2462</Words>
  <Application>Microsoft Macintosh PowerPoint</Application>
  <PresentationFormat>Widescreen</PresentationFormat>
  <Paragraphs>476</Paragraphs>
  <Slides>58</Slides>
  <Notes>10</Notes>
  <HiddenSlides>1</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58</vt:i4>
      </vt:variant>
    </vt:vector>
  </HeadingPairs>
  <TitlesOfParts>
    <vt:vector size="84" baseType="lpstr">
      <vt:lpstr>Arial</vt:lpstr>
      <vt:lpstr>Calibri</vt:lpstr>
      <vt:lpstr>Consolas</vt:lpstr>
      <vt:lpstr>Merriweather Sans</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EBC_2017</vt:lpstr>
      <vt:lpstr>1_MGXFY15</vt:lpstr>
      <vt:lpstr>MGXFY15</vt:lpstr>
      <vt:lpstr>5-50173_Microsoft_Ready_Light_Template</vt:lpstr>
      <vt:lpstr>2_WHITE TEMPLATE</vt:lpstr>
      <vt:lpstr>think-cell Slide</vt:lpstr>
      <vt:lpstr> Kafka on Azure Options and considerations   Anagha Khanolkar Cloud Solution Architect, Advanced Analytics &amp; AI</vt:lpstr>
      <vt:lpstr>Agenda</vt:lpstr>
      <vt:lpstr>Kafka on Azure</vt:lpstr>
      <vt:lpstr>Options</vt:lpstr>
      <vt:lpstr>Newer kids on the block Kafka services</vt:lpstr>
      <vt:lpstr>      Newer Kafka features/services</vt:lpstr>
      <vt:lpstr>       Kafka Connect                                                                 Value proposition</vt:lpstr>
      <vt:lpstr>       Kafka Streams                                                                 Value proposition</vt:lpstr>
      <vt:lpstr>       KSQL                                                                 Value proposition</vt:lpstr>
      <vt:lpstr>       Confluent REST proxy                                                                 Value proposition</vt:lpstr>
      <vt:lpstr>       Avro</vt:lpstr>
      <vt:lpstr>       Confluent Schema registry                                                                 About</vt:lpstr>
      <vt:lpstr> Confluent Schema registry                                                                 About</vt:lpstr>
      <vt:lpstr>       Confluent Schema registry                                                                 What do I need to do in my code?</vt:lpstr>
      <vt:lpstr>       Confluent Schema registry                                                                 FAQ</vt:lpstr>
      <vt:lpstr>       Log compaction                                                                 About</vt:lpstr>
      <vt:lpstr>HDInsight Kafka</vt:lpstr>
      <vt:lpstr>Azure HDInsight Hortonworks PaaS | Workload based clusters with disaggregated compute and storage</vt:lpstr>
      <vt:lpstr>About HDI Kafka </vt:lpstr>
      <vt:lpstr>Azure HDInsight Kafka </vt:lpstr>
      <vt:lpstr>Azure HDInsight Kafka </vt:lpstr>
      <vt:lpstr>Provisioning options </vt:lpstr>
      <vt:lpstr>Customize clusters with… </vt:lpstr>
      <vt:lpstr>Add edge nodes… </vt:lpstr>
      <vt:lpstr>Topology </vt:lpstr>
      <vt:lpstr>PowerPoint Presentation</vt:lpstr>
      <vt:lpstr>Deployment layout </vt:lpstr>
      <vt:lpstr>PowerPoint Presentation</vt:lpstr>
      <vt:lpstr>PowerPoint Presentation</vt:lpstr>
      <vt:lpstr>Security – Authorization with Ranger</vt:lpstr>
      <vt:lpstr>Security – Authorization with Ranger</vt:lpstr>
      <vt:lpstr>Security – Authorization with Ranger</vt:lpstr>
      <vt:lpstr>Security – Encryption</vt:lpstr>
      <vt:lpstr>PowerPoint Presentation</vt:lpstr>
      <vt:lpstr>Security – Auditing</vt:lpstr>
      <vt:lpstr>High availability</vt:lpstr>
      <vt:lpstr>High availability</vt:lpstr>
      <vt:lpstr>Disaster Recovery</vt:lpstr>
      <vt:lpstr>Connecting from on-premise</vt:lpstr>
      <vt:lpstr>Tuning, specific to Azure</vt:lpstr>
      <vt:lpstr>Monitoring by Microsoft</vt:lpstr>
      <vt:lpstr>Monitoring – Log Analytics</vt:lpstr>
      <vt:lpstr>Patching</vt:lpstr>
      <vt:lpstr>Sizing – bottlenecks are usually…</vt:lpstr>
      <vt:lpstr>Sizing – infrastructure considerations</vt:lpstr>
      <vt:lpstr>Sizing – brokers</vt:lpstr>
      <vt:lpstr>Upgrades</vt:lpstr>
      <vt:lpstr>Pricing</vt:lpstr>
      <vt:lpstr>Databricks Spark - integration </vt:lpstr>
      <vt:lpstr>HDInsight Spark - integration </vt:lpstr>
      <vt:lpstr>Resources</vt:lpstr>
      <vt:lpstr>HDI Kafka Customer Success</vt:lpstr>
      <vt:lpstr>PowerPoint Presentation</vt:lpstr>
      <vt:lpstr>PowerPoint Presentation</vt:lpstr>
      <vt:lpstr>Kafka API for Azure Event Hub</vt:lpstr>
      <vt:lpstr>Kafka API for Azure Event Hub</vt:lpstr>
      <vt:lpstr>Kafka API for Azure Event Hub</vt:lpstr>
      <vt:lpstr>Kafka API for Azure Event 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Anagha Khanolkar</cp:lastModifiedBy>
  <cp:revision>106</cp:revision>
  <dcterms:created xsi:type="dcterms:W3CDTF">2017-10-30T23:38:41Z</dcterms:created>
  <dcterms:modified xsi:type="dcterms:W3CDTF">2018-11-13T17:1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